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Default Extension="jpeg" ContentType="image/jpeg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gif" ContentType="image/gif"/>
  <Default Extension="xlsx" ContentType="application/vnd.openxmlformats-officedocument.spreadsheetml.sheet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1"/>
  </p:sldMasterIdLst>
  <p:notesMasterIdLst>
    <p:notesMasterId r:id="rId21"/>
  </p:notesMasterIdLst>
  <p:sldIdLst>
    <p:sldId id="290" r:id="rId2"/>
    <p:sldId id="261" r:id="rId3"/>
    <p:sldId id="262" r:id="rId4"/>
    <p:sldId id="266" r:id="rId5"/>
    <p:sldId id="291" r:id="rId6"/>
    <p:sldId id="263" r:id="rId7"/>
    <p:sldId id="271" r:id="rId8"/>
    <p:sldId id="264" r:id="rId9"/>
    <p:sldId id="268" r:id="rId10"/>
    <p:sldId id="285" r:id="rId11"/>
    <p:sldId id="284" r:id="rId12"/>
    <p:sldId id="272" r:id="rId13"/>
    <p:sldId id="274" r:id="rId14"/>
    <p:sldId id="286" r:id="rId15"/>
    <p:sldId id="279" r:id="rId16"/>
    <p:sldId id="278" r:id="rId17"/>
    <p:sldId id="280" r:id="rId18"/>
    <p:sldId id="281" r:id="rId19"/>
    <p:sldId id="292" r:id="rId20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5" d="100"/>
          <a:sy n="75" d="100"/>
        </p:scale>
        <p:origin x="-1338" y="-27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0"/>
      <c:depthPercent val="12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25400">
          <a:noFill/>
        </a:ln>
      </c:spPr>
    </c:sideWall>
    <c:backWall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4.0328422284417083E-2"/>
          <c:y val="2.8662420382165606E-2"/>
          <c:w val="0.84042721753936811"/>
          <c:h val="0.9501630368287457"/>
        </c:manualLayout>
      </c:layout>
      <c:bar3DChart>
        <c:barDir val="col"/>
        <c:grouping val="clustered"/>
        <c:ser>
          <c:idx val="2"/>
          <c:order val="0"/>
          <c:tx>
            <c:strRef>
              <c:f>Sheet1!$A$4</c:f>
              <c:strCache>
                <c:ptCount val="1"/>
                <c:pt idx="0">
                  <c:v>Север</c:v>
                </c:pt>
              </c:strCache>
            </c:strRef>
          </c:tx>
          <c:spPr>
            <a:solidFill>
              <a:schemeClr val="hlink"/>
            </a:solidFill>
            <a:ln w="7702">
              <a:solidFill>
                <a:schemeClr val="tx1"/>
              </a:solidFill>
              <a:prstDash val="solid"/>
            </a:ln>
          </c:spPr>
          <c:dLbls>
            <c:dLbl>
              <c:idx val="0"/>
              <c:layout>
                <c:manualLayout>
                  <c:x val="2.1083453399573186E-2"/>
                  <c:y val="-6.7854095528949485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В </a:t>
                    </a:r>
                    <a:r>
                      <a:rPr lang="en-US" dirty="0" smtClean="0"/>
                      <a:t>11,4</a:t>
                    </a:r>
                    <a:r>
                      <a:rPr lang="ru-RU" dirty="0" smtClean="0"/>
                      <a:t> раза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1.6398241533001321E-2"/>
                  <c:y val="-6.106868597605446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в 3 раза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1.6398241533001321E-2"/>
                  <c:y val="-5.4283276423159513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в </a:t>
                    </a:r>
                    <a:r>
                      <a:rPr lang="en-US" dirty="0" smtClean="0"/>
                      <a:t>2,5</a:t>
                    </a:r>
                    <a:r>
                      <a:rPr lang="ru-RU" dirty="0" smtClean="0"/>
                      <a:t> раза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3.2796483066002732E-2"/>
                  <c:y val="-4.749786687026458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в </a:t>
                    </a:r>
                    <a:r>
                      <a:rPr lang="en-US" dirty="0" smtClean="0"/>
                      <a:t>1,5</a:t>
                    </a:r>
                    <a:r>
                      <a:rPr lang="ru-RU" dirty="0" smtClean="0"/>
                      <a:t> раза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strRef>
              <c:f>Sheet1!$B$1:$E$1</c:f>
              <c:strCache>
                <c:ptCount val="4"/>
                <c:pt idx="0">
                  <c:v>1 кв</c:v>
                </c:pt>
                <c:pt idx="1">
                  <c:v>2 кв</c:v>
                </c:pt>
                <c:pt idx="2">
                  <c:v>3 кв</c:v>
                </c:pt>
                <c:pt idx="3">
                  <c:v>4 кв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  <c:pt idx="0">
                  <c:v>11.4</c:v>
                </c:pt>
                <c:pt idx="1">
                  <c:v>3</c:v>
                </c:pt>
                <c:pt idx="2">
                  <c:v>2.5</c:v>
                </c:pt>
                <c:pt idx="3">
                  <c:v>1.5</c:v>
                </c:pt>
              </c:numCache>
            </c:numRef>
          </c:val>
        </c:ser>
        <c:gapWidth val="130"/>
        <c:gapDepth val="70"/>
        <c:shape val="box"/>
        <c:axId val="46673920"/>
        <c:axId val="46675840"/>
        <c:axId val="0"/>
      </c:bar3DChart>
      <c:catAx>
        <c:axId val="46673920"/>
        <c:scaling>
          <c:orientation val="minMax"/>
        </c:scaling>
        <c:delete val="1"/>
        <c:axPos val="b"/>
        <c:numFmt formatCode="General" sourceLinked="1"/>
        <c:tickLblPos val="none"/>
        <c:crossAx val="46675840"/>
        <c:crosses val="autoZero"/>
        <c:auto val="1"/>
        <c:lblAlgn val="ctr"/>
        <c:lblOffset val="100"/>
        <c:tickLblSkip val="1"/>
        <c:tickMarkSkip val="1"/>
      </c:catAx>
      <c:valAx>
        <c:axId val="46675840"/>
        <c:scaling>
          <c:orientation val="minMax"/>
        </c:scaling>
        <c:delete val="1"/>
        <c:axPos val="l"/>
        <c:numFmt formatCode="General" sourceLinked="1"/>
        <c:tickLblPos val="none"/>
        <c:crossAx val="46673920"/>
        <c:crosses val="autoZero"/>
        <c:crossBetween val="between"/>
      </c:valAx>
      <c:spPr>
        <a:noFill/>
        <a:ln w="15405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819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3177</cdr:x>
      <cdr:y>0.87787</cdr:y>
    </cdr:from>
    <cdr:to>
      <cdr:x>0.25037</cdr:x>
      <cdr:y>1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714380" y="1643075"/>
          <a:ext cx="642942" cy="228588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1">
          <a:schemeClr val="accent6"/>
        </a:lnRef>
        <a:fillRef xmlns:a="http://schemas.openxmlformats.org/drawingml/2006/main" idx="2">
          <a:schemeClr val="accent6"/>
        </a:fillRef>
        <a:effectRef xmlns:a="http://schemas.openxmlformats.org/drawingml/2006/main" idx="1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pPr algn="ctr"/>
          <a:r>
            <a:rPr lang="ru-RU" sz="1100" b="1" dirty="0" smtClean="0">
              <a:latin typeface="Times New Roman" pitchFamily="18" charset="0"/>
              <a:cs typeface="Times New Roman" pitchFamily="18" charset="0"/>
            </a:rPr>
            <a:t>СССР</a:t>
          </a:r>
          <a:endParaRPr lang="ru-RU" sz="110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30308</cdr:x>
      <cdr:y>0.87787</cdr:y>
    </cdr:from>
    <cdr:to>
      <cdr:x>0.42167</cdr:x>
      <cdr:y>1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1643074" y="1643075"/>
          <a:ext cx="642942" cy="228588"/>
        </a:xfrm>
        <a:prstGeom xmlns:a="http://schemas.openxmlformats.org/drawingml/2006/main" prst="rect">
          <a:avLst/>
        </a:prstGeom>
        <a:ln xmlns:a="http://schemas.openxmlformats.org/drawingml/2006/main"/>
      </cdr:spPr>
      <cdr:style>
        <a:lnRef xmlns:a="http://schemas.openxmlformats.org/drawingml/2006/main" idx="1">
          <a:schemeClr val="accent3"/>
        </a:lnRef>
        <a:fillRef xmlns:a="http://schemas.openxmlformats.org/drawingml/2006/main" idx="2">
          <a:schemeClr val="accent3"/>
        </a:fillRef>
        <a:effectRef xmlns:a="http://schemas.openxmlformats.org/drawingml/2006/main" idx="1">
          <a:schemeClr val="accent3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Gill Sans MT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Gill Sans MT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Gill Sans MT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Gill Sans MT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Gill Sans MT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Gill Sans MT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Gill Sans MT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Gill Sans MT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Gill Sans MT"/>
            </a:defRPr>
          </a:lvl9pPr>
        </a:lstStyle>
        <a:p xmlns:a="http://schemas.openxmlformats.org/drawingml/2006/main">
          <a:pPr algn="ctr"/>
          <a:r>
            <a:rPr lang="ru-RU" sz="1050" b="1" dirty="0" smtClean="0">
              <a:latin typeface="Times New Roman" pitchFamily="18" charset="0"/>
              <a:cs typeface="Times New Roman" pitchFamily="18" charset="0"/>
            </a:rPr>
            <a:t>США</a:t>
          </a:r>
          <a:endParaRPr lang="ru-RU" sz="105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612</cdr:x>
      <cdr:y>0.87787</cdr:y>
    </cdr:from>
    <cdr:to>
      <cdr:x>0.61933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2500330" y="1643073"/>
          <a:ext cx="857256" cy="228589"/>
        </a:xfrm>
        <a:prstGeom xmlns:a="http://schemas.openxmlformats.org/drawingml/2006/main" prst="rect">
          <a:avLst/>
        </a:prstGeom>
        <a:ln xmlns:a="http://schemas.openxmlformats.org/drawingml/2006/main"/>
      </cdr:spPr>
      <cdr:style>
        <a:lnRef xmlns:a="http://schemas.openxmlformats.org/drawingml/2006/main" idx="1">
          <a:schemeClr val="accent3"/>
        </a:lnRef>
        <a:fillRef xmlns:a="http://schemas.openxmlformats.org/drawingml/2006/main" idx="2">
          <a:schemeClr val="accent3"/>
        </a:fillRef>
        <a:effectRef xmlns:a="http://schemas.openxmlformats.org/drawingml/2006/main" idx="1">
          <a:schemeClr val="accent3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Gill Sans MT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Gill Sans MT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Gill Sans MT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Gill Sans MT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Gill Sans MT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Gill Sans MT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Gill Sans MT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Gill Sans MT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Gill Sans MT"/>
            </a:defRPr>
          </a:lvl9pPr>
        </a:lstStyle>
        <a:p xmlns:a="http://schemas.openxmlformats.org/drawingml/2006/main">
          <a:pPr algn="ctr"/>
          <a:r>
            <a:rPr lang="ru-RU" sz="1050" b="1" dirty="0" smtClean="0">
              <a:latin typeface="Times New Roman" pitchFamily="18" charset="0"/>
              <a:cs typeface="Times New Roman" pitchFamily="18" charset="0"/>
            </a:rPr>
            <a:t>Франция</a:t>
          </a:r>
          <a:endParaRPr lang="ru-RU" sz="105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63251</cdr:x>
      <cdr:y>0.87787</cdr:y>
    </cdr:from>
    <cdr:to>
      <cdr:x>0.79064</cdr:x>
      <cdr:y>1</cdr:y>
    </cdr:to>
    <cdr:sp macro="" textlink="">
      <cdr:nvSpPr>
        <cdr:cNvPr id="5" name="Прямоугольник 4"/>
        <cdr:cNvSpPr/>
      </cdr:nvSpPr>
      <cdr:spPr>
        <a:xfrm xmlns:a="http://schemas.openxmlformats.org/drawingml/2006/main">
          <a:off x="3429024" y="1714512"/>
          <a:ext cx="857256" cy="228589"/>
        </a:xfrm>
        <a:prstGeom xmlns:a="http://schemas.openxmlformats.org/drawingml/2006/main" prst="rect">
          <a:avLst/>
        </a:prstGeom>
        <a:gradFill xmlns:a="http://schemas.openxmlformats.org/drawingml/2006/main" rotWithShape="1">
          <a:gsLst>
            <a:gs pos="0">
              <a:srgbClr val="C32D2E">
                <a:tint val="35000"/>
                <a:satMod val="253000"/>
              </a:srgbClr>
            </a:gs>
            <a:gs pos="50000">
              <a:srgbClr val="C32D2E">
                <a:tint val="42000"/>
                <a:satMod val="255000"/>
              </a:srgbClr>
            </a:gs>
            <a:gs pos="97000">
              <a:srgbClr val="C32D2E">
                <a:tint val="53000"/>
                <a:satMod val="260000"/>
              </a:srgbClr>
            </a:gs>
            <a:gs pos="100000">
              <a:srgbClr val="C32D2E">
                <a:tint val="56000"/>
                <a:satMod val="275000"/>
              </a:srgbClr>
            </a:gs>
          </a:gsLst>
          <a:path path="circle">
            <a:fillToRect l="50000" t="50000" r="50000" b="50000"/>
          </a:path>
        </a:gradFill>
        <a:ln xmlns:a="http://schemas.openxmlformats.org/drawingml/2006/main" w="9525" cap="flat" cmpd="sng" algn="ctr">
          <a:solidFill>
            <a:srgbClr val="C32D2E"/>
          </a:solidFill>
          <a:prstDash val="solid"/>
        </a:ln>
        <a:effectLst xmlns:a="http://schemas.openxmlformats.org/drawingml/2006/main">
          <a:outerShdw blurRad="63500" dist="25400" dir="5400000" rotWithShape="0">
            <a:srgbClr val="000000">
              <a:alpha val="43137"/>
            </a:srgbClr>
          </a:outerShdw>
        </a:effectLst>
      </cdr:spPr>
      <cdr:style>
        <a:lnRef xmlns:a="http://schemas.openxmlformats.org/drawingml/2006/main" idx="1">
          <a:schemeClr val="accent3"/>
        </a:lnRef>
        <a:fillRef xmlns:a="http://schemas.openxmlformats.org/drawingml/2006/main" idx="2">
          <a:schemeClr val="accent3"/>
        </a:fillRef>
        <a:effectRef xmlns:a="http://schemas.openxmlformats.org/drawingml/2006/main" idx="1">
          <a:schemeClr val="accent3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Gill Sans MT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Gill Sans MT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Gill Sans MT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Gill Sans MT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Gill Sans MT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Gill Sans MT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Gill Sans MT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Gill Sans MT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Gill Sans MT"/>
            </a:defRPr>
          </a:lvl9pPr>
        </a:lstStyle>
        <a:p xmlns:a="http://schemas.openxmlformats.org/drawingml/2006/main">
          <a:pPr algn="ctr"/>
          <a:r>
            <a:rPr lang="ru-RU" sz="1050" b="1" dirty="0" smtClean="0">
              <a:latin typeface="Times New Roman" pitchFamily="18" charset="0"/>
              <a:cs typeface="Times New Roman" pitchFamily="18" charset="0"/>
            </a:rPr>
            <a:t>Англия</a:t>
          </a:r>
          <a:endParaRPr lang="ru-RU" sz="105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2899</cdr:x>
      <cdr:y>0.12213</cdr:y>
    </cdr:from>
    <cdr:to>
      <cdr:x>0.80381</cdr:x>
      <cdr:y>1</cdr:y>
    </cdr:to>
    <cdr:sp macro="" textlink="">
      <cdr:nvSpPr>
        <cdr:cNvPr id="6" name="Прямоугольник 5"/>
        <cdr:cNvSpPr/>
      </cdr:nvSpPr>
      <cdr:spPr>
        <a:xfrm xmlns:a="http://schemas.openxmlformats.org/drawingml/2006/main">
          <a:off x="1571636" y="285752"/>
          <a:ext cx="2786082" cy="164307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22225">
          <a:solidFill>
            <a:schemeClr val="tx1"/>
          </a:solidFill>
          <a:prstDash val="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D3C7C3-D1B1-445C-91AA-05A54C8F6256}" type="datetimeFigureOut">
              <a:rPr lang="ru-RU" smtClean="0"/>
              <a:pPr/>
              <a:t>11.10.201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8FD644-A3F5-483D-A392-B8669EB89D7B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8FD644-A3F5-483D-A392-B8669EB89D7B}" type="slidenum">
              <a:rPr lang="ru-RU" smtClean="0"/>
              <a:pPr/>
              <a:t>2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81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3"/>
          <p:cNvSpPr>
            <a:spLocks noGrp="1"/>
          </p:cNvSpPr>
          <p:nvPr>
            <p:ph type="ctrTitle"/>
          </p:nvPr>
        </p:nvSpPr>
        <p:spPr>
          <a:xfrm>
            <a:off x="1432560" y="359898"/>
            <a:ext cx="740664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2" name="Подзаголовок 21"/>
          <p:cNvSpPr>
            <a:spLocks noGrp="1"/>
          </p:cNvSpPr>
          <p:nvPr>
            <p:ph type="subTitle" idx="1"/>
          </p:nvPr>
        </p:nvSpPr>
        <p:spPr>
          <a:xfrm>
            <a:off x="1432560" y="1850064"/>
            <a:ext cx="740664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E9DCEC61-BADF-4BB0-99E3-98FAB326756A}" type="datetime1">
              <a:rPr lang="ru-RU" smtClean="0"/>
              <a:pPr/>
              <a:t>11.10.2011</a:t>
            </a:fld>
            <a:endParaRPr lang="ru-RU"/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ACBBE2C-E99A-489C-AEC5-898A55BC3EF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921433" y="1413802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Овал 8"/>
          <p:cNvSpPr/>
          <p:nvPr/>
        </p:nvSpPr>
        <p:spPr>
          <a:xfrm>
            <a:off x="1157176" y="1345016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46F27C1-383F-47D0-80BA-A3319FE8567B}" type="datetime1">
              <a:rPr lang="ru-RU" smtClean="0"/>
              <a:pPr/>
              <a:t>11.10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ACBBE2C-E99A-489C-AEC5-898A55BC3EF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274639"/>
            <a:ext cx="1828800" cy="5851525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43000" y="274640"/>
            <a:ext cx="55626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3F01A186-3315-4B8F-8B44-8B7DFE6F6A56}" type="datetime1">
              <a:rPr lang="ru-RU" smtClean="0"/>
              <a:pPr/>
              <a:t>11.10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ACBBE2C-E99A-489C-AEC5-898A55BC3EF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>
  <p:cSld name="Заголовок, 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708DBEAC-8D32-48D9-A184-5F76AE9F27E0}" type="datetime1">
              <a:rPr lang="ru-RU" smtClean="0"/>
              <a:pPr/>
              <a:t>11.10.201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BBF72EB3-BF4C-4E29-8458-B8549913AAF3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BBF3696A-EAF9-4E3D-A459-687647509AD5}" type="datetime1">
              <a:rPr lang="ru-RU" smtClean="0"/>
              <a:pPr/>
              <a:t>11.10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F02E79FC-9F0A-4EDE-A049-084066ABD8A2}" type="slidenum">
              <a:rPr lang="ru-RU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BC255022-1B5C-4848-B74F-18F54554A9AF}" type="datetime1">
              <a:rPr lang="ru-RU" smtClean="0"/>
              <a:pPr/>
              <a:t>11.10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ACBBE2C-E99A-489C-AEC5-898A55BC3EF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282890" y="-54"/>
            <a:ext cx="68580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78392" y="2600325"/>
            <a:ext cx="6400800" cy="2286000"/>
          </a:xfrm>
        </p:spPr>
        <p:txBody>
          <a:bodyPr anchor="t"/>
          <a:lstStyle>
            <a:lvl1pPr algn="l">
              <a:lnSpc>
                <a:spcPts val="4500"/>
              </a:lnSpc>
              <a:buNone/>
              <a:defRPr sz="4000" b="1" cap="all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78392" y="1066800"/>
            <a:ext cx="6400800" cy="1509712"/>
          </a:xfrm>
        </p:spPr>
        <p:txBody>
          <a:bodyPr anchor="b"/>
          <a:lstStyle>
            <a:lvl1pPr marL="18288" indent="0">
              <a:lnSpc>
                <a:spcPts val="2300"/>
              </a:lnSpc>
              <a:spcBef>
                <a:spcPts val="0"/>
              </a:spcBef>
              <a:buNone/>
              <a:defRPr sz="20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7B58C0CD-E781-4967-B7F8-BC9F2681427C}" type="datetime1">
              <a:rPr lang="ru-RU" smtClean="0"/>
              <a:pPr/>
              <a:t>11.10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ACBBE2C-E99A-489C-AEC5-898A55BC3EF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Прямоугольник 9"/>
          <p:cNvSpPr/>
          <p:nvPr/>
        </p:nvSpPr>
        <p:spPr bwMode="invGray">
          <a:xfrm>
            <a:off x="2286000" y="0"/>
            <a:ext cx="76200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8" name="Овал 7"/>
          <p:cNvSpPr/>
          <p:nvPr/>
        </p:nvSpPr>
        <p:spPr>
          <a:xfrm>
            <a:off x="2172321" y="2814656"/>
            <a:ext cx="210312" cy="210312"/>
          </a:xfrm>
          <a:prstGeom prst="ellipse">
            <a:avLst/>
          </a:prstGeom>
          <a:gradFill rotWithShape="1">
            <a:gsLst>
              <a:gs pos="0">
                <a:schemeClr val="accent1">
                  <a:tint val="20000"/>
                  <a:satMod val="450000"/>
                  <a:alpha val="95000"/>
                </a:schemeClr>
              </a:gs>
              <a:gs pos="50000">
                <a:schemeClr val="accent1">
                  <a:tint val="38000"/>
                  <a:satMod val="250000"/>
                  <a:alpha val="90000"/>
                </a:schemeClr>
              </a:gs>
              <a:gs pos="95000">
                <a:schemeClr val="accent1">
                  <a:tint val="75000"/>
                  <a:satMod val="255000"/>
                  <a:alpha val="88000"/>
                </a:schemeClr>
              </a:gs>
              <a:gs pos="100000">
                <a:schemeClr val="accent1">
                  <a:tint val="100000"/>
                  <a:shade val="90000"/>
                  <a:satMod val="255000"/>
                  <a:alpha val="85000"/>
                </a:schemeClr>
              </a:gs>
            </a:gsLst>
            <a:path path="circle">
              <a:fillToRect l="25000" t="12500" r="75000" b="87500"/>
            </a:path>
          </a:gradFill>
          <a:ln w="2000" cap="rnd" cmpd="sng" algn="ctr">
            <a:solidFill>
              <a:schemeClr val="accent1">
                <a:shade val="90000"/>
                <a:satMod val="110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Овал 8"/>
          <p:cNvSpPr/>
          <p:nvPr/>
        </p:nvSpPr>
        <p:spPr>
          <a:xfrm>
            <a:off x="2408064" y="2745870"/>
            <a:ext cx="64008" cy="64008"/>
          </a:xfrm>
          <a:prstGeom prst="ellipse">
            <a:avLst/>
          </a:prstGeom>
          <a:noFill/>
          <a:ln w="12700" cap="rnd" cmpd="sng" algn="ctr">
            <a:solidFill>
              <a:schemeClr val="accent1">
                <a:shade val="75000"/>
                <a:alpha val="60000"/>
              </a:schemeClr>
            </a:solidFill>
            <a:prstDash val="solid"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43560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276088" y="1524000"/>
            <a:ext cx="3657600" cy="466344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B2D7ED1F-BB2F-4C40-82C4-DC3A9F665653}" type="datetime1">
              <a:rPr lang="ru-RU" smtClean="0"/>
              <a:pPr/>
              <a:t>11.10.201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ACBBE2C-E99A-489C-AEC5-898A55BC3EF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160336"/>
            <a:ext cx="8229600" cy="1143000"/>
          </a:xfrm>
        </p:spPr>
        <p:txBody>
          <a:bodyPr anchor="ctr"/>
          <a:lstStyle>
            <a:lvl1pPr algn="ctr">
              <a:defRPr sz="4500" b="1" cap="none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63440" y="328278"/>
            <a:ext cx="4023360" cy="640080"/>
          </a:xfrm>
          <a:solidFill>
            <a:schemeClr val="bg1"/>
          </a:solidFill>
          <a:ln w="10795">
            <a:solidFill>
              <a:schemeClr val="bg1"/>
            </a:solidFill>
            <a:miter lim="800000"/>
          </a:ln>
        </p:spPr>
        <p:txBody>
          <a:bodyPr anchor="ctr"/>
          <a:lstStyle>
            <a:lvl1pPr marL="64008" indent="0" algn="l">
              <a:lnSpc>
                <a:spcPct val="100000"/>
              </a:lnSpc>
              <a:spcBef>
                <a:spcPts val="100"/>
              </a:spcBef>
              <a:buNone/>
              <a:defRPr sz="1900" b="0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63440" y="969336"/>
            <a:ext cx="4023360" cy="4114800"/>
          </a:xfrm>
          <a:ln w="10795">
            <a:solidFill>
              <a:schemeClr val="bg1"/>
            </a:solidFill>
            <a:prstDash val="dash"/>
            <a:miter lim="800000"/>
          </a:ln>
        </p:spPr>
        <p:txBody>
          <a:bodyPr/>
          <a:lstStyle>
            <a:lvl1pPr marL="393192" indent="-274320">
              <a:lnSpc>
                <a:spcPct val="100000"/>
              </a:lnSpc>
              <a:spcBef>
                <a:spcPts val="700"/>
              </a:spcBef>
              <a:defRPr sz="2400"/>
            </a:lvl1pPr>
            <a:lvl2pPr>
              <a:lnSpc>
                <a:spcPct val="100000"/>
              </a:lnSpc>
              <a:spcBef>
                <a:spcPts val="700"/>
              </a:spcBef>
              <a:defRPr sz="2000"/>
            </a:lvl2pPr>
            <a:lvl3pPr>
              <a:lnSpc>
                <a:spcPct val="100000"/>
              </a:lnSpc>
              <a:spcBef>
                <a:spcPts val="700"/>
              </a:spcBef>
              <a:defRPr sz="1800"/>
            </a:lvl3pPr>
            <a:lvl4pPr>
              <a:lnSpc>
                <a:spcPct val="100000"/>
              </a:lnSpc>
              <a:spcBef>
                <a:spcPts val="700"/>
              </a:spcBef>
              <a:defRPr sz="1600"/>
            </a:lvl4pPr>
            <a:lvl5pPr>
              <a:lnSpc>
                <a:spcPct val="100000"/>
              </a:lnSpc>
              <a:spcBef>
                <a:spcPts val="700"/>
              </a:spcBef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AB885ADA-A9BB-4B97-A5E5-CD0E6437BA44}" type="datetime1">
              <a:rPr lang="ru-RU" smtClean="0"/>
              <a:pPr/>
              <a:t>11.10.201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ACBBE2C-E99A-489C-AEC5-898A55BC3EF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5608" y="274320"/>
            <a:ext cx="7498080" cy="1143000"/>
          </a:xfrm>
        </p:spPr>
        <p:txBody>
          <a:bodyPr anchor="ctr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79F6116D-060A-4680-87E2-7D5BAB5C8B6F}" type="datetime1">
              <a:rPr lang="ru-RU" smtClean="0"/>
              <a:pPr/>
              <a:t>11.10.201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ACBBE2C-E99A-489C-AEC5-898A55BC3EF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014984" y="0"/>
            <a:ext cx="8129016" cy="6858000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9E8ED2B-A5CE-438C-AA5E-CB45C4C94D21}" type="datetime1">
              <a:rPr lang="ru-RU" smtClean="0"/>
              <a:pPr/>
              <a:t>11.10.201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ACBBE2C-E99A-489C-AEC5-898A55BC3EF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Прямоугольник 5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6778"/>
            <a:ext cx="3810000" cy="1162050"/>
          </a:xfrm>
          <a:ln>
            <a:noFill/>
          </a:ln>
        </p:spPr>
        <p:txBody>
          <a:bodyPr anchor="b"/>
          <a:lstStyle>
            <a:lvl1pPr algn="l">
              <a:lnSpc>
                <a:spcPts val="2000"/>
              </a:lnSpc>
              <a:buNone/>
              <a:defRPr sz="2200" b="1" cap="all" baseline="0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57200" y="1406964"/>
            <a:ext cx="3810000" cy="698500"/>
          </a:xfrm>
        </p:spPr>
        <p:txBody>
          <a:bodyPr/>
          <a:lstStyle>
            <a:lvl1pPr marL="45720" indent="0">
              <a:lnSpc>
                <a:spcPct val="100000"/>
              </a:lnSpc>
              <a:spcBef>
                <a:spcPts val="0"/>
              </a:spcBef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457200" y="2133600"/>
            <a:ext cx="8153400" cy="39925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FAD1C3E9-DC61-4CB6-8BF5-C8C3B120E5F9}" type="datetime1">
              <a:rPr lang="ru-RU" smtClean="0"/>
              <a:pPr/>
              <a:t>11.10.201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ACBBE2C-E99A-489C-AEC5-898A55BC3EFD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86896" y="1066800"/>
            <a:ext cx="2743200" cy="1981200"/>
          </a:xfrm>
        </p:spPr>
        <p:txBody>
          <a:bodyPr anchor="b">
            <a:noAutofit/>
          </a:bodyPr>
          <a:lstStyle>
            <a:lvl1pPr algn="l">
              <a:buNone/>
              <a:defRPr sz="2100" b="1"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24B2B48B-1490-429A-880B-B02119D7A7F8}" type="datetime1">
              <a:rPr lang="ru-RU" smtClean="0"/>
              <a:pPr/>
              <a:t>11.10.201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0ACBBE2C-E99A-489C-AEC5-898A55BC3EF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762000" y="1066800"/>
            <a:ext cx="4572000" cy="4572000"/>
          </a:xfrm>
          <a:prstGeom prst="rect">
            <a:avLst/>
          </a:prstGeom>
          <a:solidFill>
            <a:srgbClr val="FFFFFF"/>
          </a:solidFill>
          <a:ln w="88900" cap="sq">
            <a:solidFill>
              <a:srgbClr val="FFFFFF"/>
            </a:solidFill>
            <a:miter lim="800000"/>
          </a:ln>
          <a:effectLst>
            <a:outerShdw blurRad="55500" dist="18500" dir="5400000" algn="tl" rotWithShape="0">
              <a:srgbClr val="000000">
                <a:alpha val="3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635">
            <a:bevelT w="25400" h="19050"/>
            <a:contourClr>
              <a:srgbClr val="969696"/>
            </a:contourClr>
          </a:sp3d>
        </p:spPr>
        <p:txBody>
          <a:bodyPr lIns="91440" tIns="274320" rtlCol="0" anchor="t">
            <a:normAutofit/>
          </a:bodyPr>
          <a:lstStyle>
            <a:extLst/>
          </a:lstStyle>
          <a:p>
            <a:pPr marL="0" indent="-283464" algn="l" rtl="0" eaLnBrk="1" latinLnBrk="0" hangingPunct="1">
              <a:lnSpc>
                <a:spcPts val="30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Wingdings 2"/>
              <a:buNone/>
            </a:pPr>
            <a:endParaRPr kumimoji="0" lang="en-US" sz="320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838200" y="1143003"/>
            <a:ext cx="4419600" cy="3514531"/>
          </a:xfrm>
          <a:prstGeom prst="roundRect">
            <a:avLst>
              <a:gd name="adj" fmla="val 783"/>
            </a:avLst>
          </a:prstGeom>
          <a:solidFill>
            <a:schemeClr val="bg2"/>
          </a:solidFill>
          <a:ln w="127000">
            <a:noFill/>
            <a:miter lim="800000"/>
          </a:ln>
          <a:effectLst/>
        </p:spPr>
        <p:txBody>
          <a:bodyPr lIns="91440" tIns="274320" anchor="t"/>
          <a:lstStyle>
            <a:lvl1pPr indent="0">
              <a:buNone/>
              <a:defRPr sz="3200"/>
            </a:lvl1pPr>
            <a:extLst/>
          </a:lstStyle>
          <a:p>
            <a:pPr marL="0" algn="l" eaLnBrk="1" latinLnBrk="0" hangingPunct="1"/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9" name="Блок-схема: процесс 8"/>
          <p:cNvSpPr/>
          <p:nvPr/>
        </p:nvSpPr>
        <p:spPr>
          <a:xfrm rot="19468671">
            <a:off x="396725" y="954341"/>
            <a:ext cx="685800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shade val="90000"/>
                <a:satMod val="200000"/>
                <a:alpha val="4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0" name="Блок-схема: процесс 9"/>
          <p:cNvSpPr/>
          <p:nvPr/>
        </p:nvSpPr>
        <p:spPr>
          <a:xfrm rot="2103354" flipH="1">
            <a:off x="5003667" y="936786"/>
            <a:ext cx="649224" cy="204310"/>
          </a:xfrm>
          <a:prstGeom prst="flowChartProcess">
            <a:avLst/>
          </a:prstGeom>
          <a:solidFill>
            <a:srgbClr val="FBFBFB">
              <a:alpha val="45098"/>
            </a:srgbClr>
          </a:solidFill>
          <a:ln w="6350" cap="rnd" cmpd="sng" algn="ctr">
            <a:solidFill>
              <a:srgbClr val="FFFFFF">
                <a:alpha val="100000"/>
              </a:srgbClr>
            </a:solidFill>
            <a:prstDash val="solid"/>
          </a:ln>
          <a:effectLst>
            <a:outerShdw blurRad="25400" dist="25400" dir="3300000" sx="96000" sy="96000" algn="tl" rotWithShape="0">
              <a:schemeClr val="bg2">
                <a:alpha val="20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8200" y="4800600"/>
            <a:ext cx="4419600" cy="762000"/>
          </a:xfrm>
        </p:spPr>
        <p:txBody>
          <a:bodyPr anchor="ctr"/>
          <a:lstStyle>
            <a:lvl1pPr marL="0" indent="0" algn="l">
              <a:lnSpc>
                <a:spcPts val="1600"/>
              </a:lnSpc>
              <a:spcBef>
                <a:spcPts val="0"/>
              </a:spcBef>
              <a:buNone/>
              <a:defRPr sz="1400">
                <a:solidFill>
                  <a:srgbClr val="777777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ирог 6"/>
          <p:cNvSpPr/>
          <p:nvPr/>
        </p:nvSpPr>
        <p:spPr>
          <a:xfrm>
            <a:off x="-815927" y="-815922"/>
            <a:ext cx="1638887" cy="1638887"/>
          </a:xfrm>
          <a:prstGeom prst="pie">
            <a:avLst>
              <a:gd name="adj1" fmla="val 0"/>
              <a:gd name="adj2" fmla="val 5402120"/>
            </a:avLst>
          </a:prstGeom>
          <a:solidFill>
            <a:schemeClr val="bg2">
              <a:tint val="18000"/>
              <a:satMod val="220000"/>
              <a:alpha val="33000"/>
            </a:schemeClr>
          </a:solidFill>
          <a:ln w="3175" cap="rnd" cmpd="sng" algn="ctr">
            <a:solidFill>
              <a:schemeClr val="bg2">
                <a:shade val="70000"/>
                <a:satMod val="200000"/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8" name="Овал 7"/>
          <p:cNvSpPr/>
          <p:nvPr/>
        </p:nvSpPr>
        <p:spPr>
          <a:xfrm>
            <a:off x="168816" y="21102"/>
            <a:ext cx="1702191" cy="1702191"/>
          </a:xfrm>
          <a:prstGeom prst="ellipse">
            <a:avLst/>
          </a:prstGeom>
          <a:noFill/>
          <a:ln w="27305" cap="rnd" cmpd="sng" algn="ctr">
            <a:solidFill>
              <a:schemeClr val="bg2">
                <a:tint val="45000"/>
                <a:satMod val="325000"/>
                <a:alpha val="100000"/>
              </a:schemeClr>
            </a:solidFill>
            <a:prstDash val="solid"/>
          </a:ln>
          <a:effectLst>
            <a:outerShdw blurRad="25400" dist="25400" dir="5400000" algn="tl" rotWithShape="0">
              <a:schemeClr val="bg2">
                <a:shade val="50000"/>
                <a:satMod val="150000"/>
                <a:alpha val="8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1" name="Кольцо 10"/>
          <p:cNvSpPr/>
          <p:nvPr/>
        </p:nvSpPr>
        <p:spPr>
          <a:xfrm rot="2315675">
            <a:off x="182881" y="1055077"/>
            <a:ext cx="1125717" cy="1102624"/>
          </a:xfrm>
          <a:prstGeom prst="donut">
            <a:avLst>
              <a:gd name="adj" fmla="val 11833"/>
            </a:avLst>
          </a:prstGeom>
          <a:gradFill rotWithShape="1">
            <a:gsLst>
              <a:gs pos="0">
                <a:schemeClr val="bg2">
                  <a:tint val="10000"/>
                  <a:shade val="99000"/>
                  <a:satMod val="355000"/>
                  <a:alpha val="70000"/>
                </a:schemeClr>
              </a:gs>
              <a:gs pos="70000">
                <a:schemeClr val="bg2">
                  <a:tint val="6000"/>
                  <a:shade val="100000"/>
                  <a:satMod val="400000"/>
                  <a:alpha val="55000"/>
                </a:schemeClr>
              </a:gs>
              <a:gs pos="100000">
                <a:schemeClr val="bg2">
                  <a:tint val="100000"/>
                  <a:shade val="75000"/>
                  <a:satMod val="370000"/>
                  <a:alpha val="60000"/>
                </a:schemeClr>
              </a:gs>
            </a:gsLst>
            <a:path path="circle">
              <a:fillToRect l="-407500" t="-50000" r="507500" b="150000"/>
            </a:path>
          </a:gradFill>
          <a:ln w="7350" cap="rnd" cmpd="sng" algn="ctr">
            <a:solidFill>
              <a:schemeClr val="bg2">
                <a:shade val="60000"/>
                <a:satMod val="220000"/>
                <a:alpha val="100000"/>
              </a:schemeClr>
            </a:solidFill>
            <a:prstDash val="solid"/>
          </a:ln>
          <a:effectLst>
            <a:outerShdw blurRad="12700" dist="15000" dir="4500000" algn="tl" rotWithShape="0">
              <a:schemeClr val="bg2">
                <a:shade val="10000"/>
                <a:satMod val="200000"/>
                <a:alpha val="3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012873" y="-54"/>
            <a:ext cx="8131127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435608" y="274638"/>
            <a:ext cx="749808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Текст 8"/>
          <p:cNvSpPr>
            <a:spLocks noGrp="1"/>
          </p:cNvSpPr>
          <p:nvPr>
            <p:ph type="body" idx="1"/>
          </p:nvPr>
        </p:nvSpPr>
        <p:spPr>
          <a:xfrm>
            <a:off x="1435608" y="1447800"/>
            <a:ext cx="7498080" cy="4800600"/>
          </a:xfrm>
          <a:prstGeom prst="rect">
            <a:avLst/>
          </a:prstGeom>
        </p:spPr>
        <p:txBody>
          <a:bodyPr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4" name="Дата 23"/>
          <p:cNvSpPr>
            <a:spLocks noGrp="1"/>
          </p:cNvSpPr>
          <p:nvPr>
            <p:ph type="dt" sz="half" idx="2"/>
          </p:nvPr>
        </p:nvSpPr>
        <p:spPr>
          <a:xfrm>
            <a:off x="3581400" y="6305550"/>
            <a:ext cx="2133600" cy="476250"/>
          </a:xfrm>
          <a:prstGeom prst="rect">
            <a:avLst/>
          </a:prstGeom>
        </p:spPr>
        <p:txBody>
          <a:bodyPr anchor="b"/>
          <a:lstStyle>
            <a:lvl1pPr algn="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</a:defRPr>
            </a:lvl1pPr>
            <a:extLst/>
          </a:lstStyle>
          <a:p>
            <a:fld id="{D0D0E13D-82E7-4715-8890-6B6D736A1702}" type="datetime1">
              <a:rPr lang="ru-RU" smtClean="0"/>
              <a:pPr/>
              <a:t>11.10.2011</a:t>
            </a:fld>
            <a:endParaRPr lang="ru-RU"/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>
          <a:xfrm>
            <a:off x="5715000" y="6305550"/>
            <a:ext cx="2895600" cy="476250"/>
          </a:xfrm>
          <a:prstGeom prst="rect">
            <a:avLst/>
          </a:prstGeom>
        </p:spPr>
        <p:txBody>
          <a:bodyPr anchor="b"/>
          <a:lstStyle>
            <a:lvl1pPr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endParaRPr lang="ru-RU"/>
          </a:p>
        </p:txBody>
      </p:sp>
      <p:sp>
        <p:nvSpPr>
          <p:cNvPr id="22" name="Номер слайда 21"/>
          <p:cNvSpPr>
            <a:spLocks noGrp="1"/>
          </p:cNvSpPr>
          <p:nvPr>
            <p:ph type="sldNum" sz="quarter" idx="4"/>
          </p:nvPr>
        </p:nvSpPr>
        <p:spPr>
          <a:xfrm>
            <a:off x="8613648" y="6305550"/>
            <a:ext cx="457200" cy="476250"/>
          </a:xfrm>
          <a:prstGeom prst="rect">
            <a:avLst/>
          </a:prstGeom>
        </p:spPr>
        <p:txBody>
          <a:bodyPr anchor="b"/>
          <a:lstStyle>
            <a:lvl1pPr algn="ctr" eaLnBrk="1" latinLnBrk="0" hangingPunct="1">
              <a:defRPr kumimoji="0" sz="1200">
                <a:solidFill>
                  <a:schemeClr val="bg2">
                    <a:shade val="50000"/>
                    <a:satMod val="200000"/>
                  </a:schemeClr>
                </a:solidFill>
                <a:effectLst/>
              </a:defRPr>
            </a:lvl1pPr>
            <a:extLst/>
          </a:lstStyle>
          <a:p>
            <a:fld id="{0ACBBE2C-E99A-489C-AEC5-898A55BC3EF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5" name="Прямоугольник 14"/>
          <p:cNvSpPr/>
          <p:nvPr/>
        </p:nvSpPr>
        <p:spPr bwMode="invGray">
          <a:xfrm>
            <a:off x="1014984" y="-54"/>
            <a:ext cx="73152" cy="6858054"/>
          </a:xfrm>
          <a:prstGeom prst="rect">
            <a:avLst/>
          </a:prstGeom>
          <a:solidFill>
            <a:schemeClr val="bg1"/>
          </a:solidFill>
          <a:ln w="25400" cap="rnd" cmpd="sng" algn="ctr">
            <a:noFill/>
            <a:prstDash val="solid"/>
          </a:ln>
          <a:effectLst>
            <a:outerShdw blurRad="38550" dist="38000" dir="10800000" algn="tl" rotWithShape="0">
              <a:schemeClr val="bg2">
                <a:shade val="20000"/>
                <a:satMod val="110000"/>
                <a:alpha val="25000"/>
              </a:scheme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4300" kern="1200">
          <a:solidFill>
            <a:schemeClr val="tx2">
              <a:satMod val="130000"/>
            </a:schemeClr>
          </a:solidFill>
          <a:effectLst>
            <a:outerShdw blurRad="50000" dist="30000" dir="5400000" algn="tl" rotWithShape="0">
              <a:srgbClr val="000000">
                <a:alpha val="30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83464" algn="l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SzPct val="80000"/>
        <a:buFont typeface="Wingdings 2"/>
        <a:buChar char="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37744" algn="l" rtl="0" eaLnBrk="1" latinLnBrk="0" hangingPunct="1">
        <a:lnSpc>
          <a:spcPct val="100000"/>
        </a:lnSpc>
        <a:spcBef>
          <a:spcPts val="550"/>
        </a:spcBef>
        <a:buClr>
          <a:schemeClr val="accent1"/>
        </a:buClr>
        <a:buFont typeface="Verdana"/>
        <a:buChar char="◦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68" indent="-228600" algn="l" rtl="0" eaLnBrk="1" latinLnBrk="0" hangingPunct="1">
        <a:lnSpc>
          <a:spcPct val="100000"/>
        </a:lnSpc>
        <a:spcBef>
          <a:spcPct val="20000"/>
        </a:spcBef>
        <a:buClr>
          <a:schemeClr val="accent2"/>
        </a:buClr>
        <a:buFont typeface="Wingdings 2"/>
        <a:buChar char="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173736" algn="l" rtl="0" eaLnBrk="1" latinLnBrk="0" hangingPunct="1">
        <a:lnSpc>
          <a:spcPct val="100000"/>
        </a:lnSpc>
        <a:spcBef>
          <a:spcPct val="20000"/>
        </a:spcBef>
        <a:buClr>
          <a:schemeClr val="accent3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298448" indent="-182880" algn="l" rtl="0" eaLnBrk="1" latinLnBrk="0" hangingPunct="1">
        <a:lnSpc>
          <a:spcPct val="100000"/>
        </a:lnSpc>
        <a:spcBef>
          <a:spcPct val="20000"/>
        </a:spcBef>
        <a:buClr>
          <a:schemeClr val="accent4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508760" indent="-182880" algn="l" rtl="0" eaLnBrk="1" latinLnBrk="0" hangingPunct="1">
        <a:lnSpc>
          <a:spcPct val="100000"/>
        </a:lnSpc>
        <a:spcBef>
          <a:spcPct val="20000"/>
        </a:spcBef>
        <a:buClr>
          <a:schemeClr val="accent5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71907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2130552" indent="-182880" algn="l" rtl="0" eaLnBrk="1" latinLnBrk="0" hangingPunct="1">
        <a:lnSpc>
          <a:spcPct val="100000"/>
        </a:lnSpc>
        <a:spcBef>
          <a:spcPct val="20000"/>
        </a:spcBef>
        <a:buClr>
          <a:schemeClr val="accent6"/>
        </a:buClr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00100" y="357190"/>
            <a:ext cx="8143900" cy="2071678"/>
          </a:xfrm>
        </p:spPr>
        <p:txBody>
          <a:bodyPr>
            <a:noAutofit/>
          </a:bodyPr>
          <a:lstStyle/>
          <a:p>
            <a:pPr algn="ctr"/>
            <a:r>
              <a:rPr lang="ru-RU" sz="2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нализ архивных материалов по теме:</a:t>
            </a:r>
            <a:br>
              <a:rPr lang="ru-RU" sz="2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2400" b="1" dirty="0" err="1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ин.сред.маш</a:t>
            </a:r>
            <a:r>
              <a:rPr lang="ru-RU" sz="2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СССР – </a:t>
            </a: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</a:t>
            </a:r>
            <a:r>
              <a:rPr lang="ru-RU" sz="2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ИЗВОДИТЕЛЬНОСТИ ТРУДА </a:t>
            </a: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2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е научной организации труда, производства и </a:t>
            </a: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я </a:t>
            </a:r>
            <a:r>
              <a:rPr lang="ru-RU" sz="2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– НОТП и </a:t>
            </a:r>
            <a:r>
              <a:rPr lang="ru-RU" sz="2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У</a:t>
            </a:r>
            <a:r>
              <a:rPr lang="ru-RU" sz="2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00100" y="3143248"/>
            <a:ext cx="8143900" cy="3714776"/>
          </a:xfrm>
        </p:spPr>
        <p:txBody>
          <a:bodyPr>
            <a:normAutofit fontScale="92500" lnSpcReduction="20000"/>
          </a:bodyPr>
          <a:lstStyle/>
          <a:p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                Обозов С.А. </a:t>
            </a:r>
          </a:p>
          <a:p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</a:t>
            </a: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 Москва</a:t>
            </a:r>
            <a:endParaRPr lang="en-US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11 г</a:t>
            </a:r>
            <a:r>
              <a:rPr lang="ru-RU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трелка вниз 4"/>
          <p:cNvSpPr/>
          <p:nvPr/>
        </p:nvSpPr>
        <p:spPr>
          <a:xfrm>
            <a:off x="4572000" y="2428868"/>
            <a:ext cx="714380" cy="857256"/>
          </a:xfrm>
          <a:prstGeom prst="downArrow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1000100" y="3143248"/>
            <a:ext cx="81439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Необходимые выводы к созданию </a:t>
            </a:r>
            <a:br>
              <a:rPr lang="ru-RU" sz="24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en-US" sz="2400" b="1" dirty="0" smtClean="0">
                <a:latin typeface="Times New Roman" pitchFamily="18" charset="0"/>
                <a:cs typeface="Times New Roman" pitchFamily="18" charset="0"/>
              </a:rPr>
              <a:t>“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Производственной системы </a:t>
            </a:r>
            <a:r>
              <a:rPr lang="en-US" sz="24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Росатом</a:t>
            </a:r>
            <a:r>
              <a:rPr lang="en-US" sz="2400" b="1" dirty="0" smtClean="0">
                <a:latin typeface="Times New Roman" pitchFamily="18" charset="0"/>
                <a:cs typeface="Times New Roman" pitchFamily="18" charset="0"/>
              </a:rPr>
              <a:t>“</a:t>
            </a:r>
            <a:endParaRPr lang="ru-RU" sz="24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2530" name="Picture 2" descr="Картинка 195 из 12291"/>
          <p:cNvPicPr>
            <a:picLocks noChangeAspect="1" noChangeArrowheads="1"/>
          </p:cNvPicPr>
          <p:nvPr/>
        </p:nvPicPr>
        <p:blipFill>
          <a:blip r:embed="rId2" cstate="print">
            <a:grayscl/>
          </a:blip>
          <a:srcRect/>
          <a:stretch>
            <a:fillRect/>
          </a:stretch>
        </p:blipFill>
        <p:spPr bwMode="auto">
          <a:xfrm>
            <a:off x="3071802" y="3856460"/>
            <a:ext cx="3714776" cy="300154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928662" y="0"/>
            <a:ext cx="7143800" cy="57148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“</a:t>
            </a:r>
            <a:r>
              <a:rPr kumimoji="0" lang="ru-RU" sz="2800" b="1" i="0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Разгон компании</a:t>
            </a:r>
            <a:r>
              <a:rPr kumimoji="0" lang="en-US" sz="2800" b="1" i="0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”</a:t>
            </a:r>
            <a:r>
              <a:rPr kumimoji="0" lang="ru-RU" sz="2800" b="1" i="0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1963-1966 </a:t>
            </a:r>
            <a:r>
              <a:rPr kumimoji="0" lang="ru-RU" sz="2800" b="1" i="0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гг</a:t>
            </a:r>
            <a:r>
              <a:rPr kumimoji="0" lang="en-US" sz="2800" b="1" i="0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.</a:t>
            </a:r>
            <a:endParaRPr kumimoji="0" lang="ru-RU" sz="2400" b="1" i="1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1000100" y="714356"/>
            <a:ext cx="1714512" cy="428628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Элементы</a:t>
            </a:r>
            <a:endParaRPr kumimoji="0" lang="ru-RU" sz="2000" b="1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1000100" y="2071678"/>
            <a:ext cx="8143900" cy="57150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Создаются бригады творческого сотрудничества из числа передовых рабочих и ИТР</a:t>
            </a:r>
            <a:endParaRPr kumimoji="0" lang="ru-RU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1000100" y="1214422"/>
            <a:ext cx="6500858" cy="78581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На общественных</a:t>
            </a:r>
            <a:r>
              <a:rPr kumimoji="0" lang="ru-RU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началах организованы курсы технического обучения рабочих</a:t>
            </a:r>
            <a:r>
              <a:rPr kumimoji="0" lang="en-US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,</a:t>
            </a:r>
            <a:r>
              <a:rPr kumimoji="0" lang="ru-RU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ИТР и служащих по изучению НОТ на рабочих местах</a:t>
            </a:r>
            <a:endParaRPr kumimoji="0" lang="ru-RU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>
          <a:xfrm>
            <a:off x="1000100" y="2714620"/>
            <a:ext cx="6858048" cy="121444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На ВДНХ (павильон </a:t>
            </a:r>
            <a:r>
              <a:rPr kumimoji="0" lang="en-US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“</a:t>
            </a:r>
            <a:r>
              <a:rPr kumimoji="0" lang="ru-RU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Машиностроение</a:t>
            </a:r>
            <a:r>
              <a:rPr kumimoji="0" lang="en-US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”</a:t>
            </a:r>
            <a:r>
              <a:rPr kumimoji="0" lang="ru-RU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) – 5 дней семинар – </a:t>
            </a:r>
            <a:r>
              <a:rPr kumimoji="0" lang="en-US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“</a:t>
            </a:r>
            <a:r>
              <a:rPr kumimoji="0" lang="ru-RU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Опыт по НОТ</a:t>
            </a:r>
            <a:r>
              <a:rPr kumimoji="0" lang="en-US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”</a:t>
            </a:r>
            <a:r>
              <a:rPr lang="en-US" dirty="0" smtClean="0">
                <a:latin typeface="Times New Roman" pitchFamily="18" charset="0"/>
                <a:ea typeface="+mj-ea"/>
                <a:cs typeface="+mj-cs"/>
              </a:rPr>
              <a:t>.</a:t>
            </a:r>
            <a:r>
              <a:rPr lang="ru-RU" dirty="0" smtClean="0">
                <a:latin typeface="Times New Roman" pitchFamily="18" charset="0"/>
                <a:ea typeface="+mj-ea"/>
                <a:cs typeface="+mj-cs"/>
              </a:rPr>
              <a:t> Экспозиция и экскурсия по ВДНХ по тематике достижений НОТ с предварительной лекцией и консультациями</a:t>
            </a:r>
            <a:endParaRPr kumimoji="0" lang="ru-RU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1000100" y="4000505"/>
            <a:ext cx="6429420" cy="135732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kumimoji="0" lang="ru-RU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В целях передового опыта НОТ в 19</a:t>
            </a:r>
            <a:r>
              <a:rPr kumimoji="0" lang="en-US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6</a:t>
            </a:r>
            <a:r>
              <a:rPr kumimoji="0" lang="ru-RU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5-</a:t>
            </a:r>
            <a:r>
              <a:rPr kumimoji="0" lang="en-US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6</a:t>
            </a:r>
            <a:r>
              <a:rPr kumimoji="0" lang="ru-RU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6 </a:t>
            </a:r>
            <a:r>
              <a:rPr kumimoji="0" lang="ru-RU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гг</a:t>
            </a:r>
            <a:r>
              <a:rPr kumimoji="0" lang="en-US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.</a:t>
            </a:r>
            <a:r>
              <a:rPr kumimoji="0" lang="ru-RU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– закуплено в магазинах и разослано</a:t>
            </a:r>
            <a:r>
              <a:rPr kumimoji="0" lang="ru-RU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на предприятия отрасли и стройки Министерства 21 наименование тех</a:t>
            </a:r>
            <a:r>
              <a:rPr kumimoji="0" lang="en-US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.</a:t>
            </a:r>
            <a:r>
              <a:rPr kumimoji="0" lang="ru-RU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литературы (внешней) + издано и разослано 11 брошюр</a:t>
            </a:r>
            <a:r>
              <a:rPr kumimoji="0" lang="en-US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,</a:t>
            </a:r>
            <a:r>
              <a:rPr lang="ru-RU" dirty="0" smtClean="0">
                <a:latin typeface="Times New Roman" pitchFamily="18" charset="0"/>
                <a:ea typeface="+mj-ea"/>
                <a:cs typeface="+mj-cs"/>
              </a:rPr>
              <a:t>методик</a:t>
            </a:r>
            <a:r>
              <a:rPr lang="en-US" dirty="0" smtClean="0">
                <a:latin typeface="Times New Roman" pitchFamily="18" charset="0"/>
                <a:ea typeface="+mj-ea"/>
                <a:cs typeface="+mj-cs"/>
              </a:rPr>
              <a:t> </a:t>
            </a:r>
            <a:r>
              <a:rPr lang="ru-RU" dirty="0" smtClean="0">
                <a:latin typeface="Times New Roman" pitchFamily="18" charset="0"/>
                <a:ea typeface="+mj-ea"/>
                <a:cs typeface="+mj-cs"/>
              </a:rPr>
              <a:t>и инструкций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</a:rPr>
              <a:t>по внутреннему </a:t>
            </a:r>
            <a:r>
              <a:rPr lang="ru-RU" dirty="0" smtClean="0">
                <a:latin typeface="Times New Roman" pitchFamily="18" charset="0"/>
              </a:rPr>
              <a:t>опыту </a:t>
            </a:r>
            <a:r>
              <a:rPr lang="en-US" dirty="0" smtClean="0">
                <a:latin typeface="Times New Roman" pitchFamily="18" charset="0"/>
                <a:ea typeface="+mj-ea"/>
                <a:cs typeface="+mj-cs"/>
              </a:rPr>
              <a:t>.</a:t>
            </a:r>
            <a:endParaRPr kumimoji="0" lang="ru-RU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>
          <a:xfrm>
            <a:off x="1000100" y="5429264"/>
            <a:ext cx="7072362" cy="114300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В</a:t>
            </a:r>
            <a:r>
              <a:rPr kumimoji="0" lang="en-US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1965 </a:t>
            </a:r>
            <a:r>
              <a:rPr kumimoji="0" lang="ru-RU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г</a:t>
            </a:r>
            <a:r>
              <a:rPr kumimoji="0" lang="en-US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.</a:t>
            </a:r>
            <a:r>
              <a:rPr kumimoji="0" lang="ru-RU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по инициативе Министерства в коллективные договора предприятий и строек был включен раздел по КОМПЛЕКСНОМУ обследованию подразделений по выявлению резервов роста ПТ</a:t>
            </a:r>
            <a:br>
              <a:rPr kumimoji="0" lang="ru-RU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</a:br>
            <a:r>
              <a:rPr kumimoji="0" lang="ru-RU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Пример темпов</a:t>
            </a:r>
            <a:r>
              <a:rPr kumimoji="0" lang="en-US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:</a:t>
            </a:r>
            <a:r>
              <a:rPr kumimoji="0" lang="ru-RU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 </a:t>
            </a:r>
            <a:r>
              <a:rPr kumimoji="0" lang="en-US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I</a:t>
            </a:r>
            <a:r>
              <a:rPr kumimoji="0" lang="ru-RU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полугодие 19</a:t>
            </a:r>
            <a:r>
              <a:rPr kumimoji="0" lang="en-US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6</a:t>
            </a:r>
            <a:r>
              <a:rPr kumimoji="0" lang="ru-RU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6 	78 комплексных исследований</a:t>
            </a:r>
            <a:endParaRPr kumimoji="0" lang="ru-RU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pic>
        <p:nvPicPr>
          <p:cNvPr id="45060" name="Picture 4" descr="Картинка 1 из 2561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72449" y="5143512"/>
            <a:ext cx="1100145" cy="171451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5062" name="Picture 6" descr="Картинка 8 из 771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43768" y="3857629"/>
            <a:ext cx="1207658" cy="164307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5064" name="Picture 8" descr="Картинка 2 из 7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15206" y="642918"/>
            <a:ext cx="1905014" cy="142876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cxnSp>
        <p:nvCxnSpPr>
          <p:cNvPr id="16" name="Прямая со стрелкой 15"/>
          <p:cNvCxnSpPr/>
          <p:nvPr/>
        </p:nvCxnSpPr>
        <p:spPr>
          <a:xfrm>
            <a:off x="4429124" y="6427808"/>
            <a:ext cx="288000" cy="158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9218" name="Picture 2" descr="Картинка 1 из 577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15208" y="2381203"/>
            <a:ext cx="1428792" cy="176217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8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0" y="6381750"/>
            <a:ext cx="457200" cy="476250"/>
          </a:xfrm>
        </p:spPr>
        <p:txBody>
          <a:bodyPr/>
          <a:lstStyle/>
          <a:p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0</a:t>
            </a:r>
            <a:endParaRPr lang="ru-RU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Картинка 11 из 1119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86414" y="3214686"/>
            <a:ext cx="3357586" cy="211995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Прямоугольник 4"/>
          <p:cNvSpPr/>
          <p:nvPr/>
        </p:nvSpPr>
        <p:spPr>
          <a:xfrm>
            <a:off x="1000100" y="-24"/>
            <a:ext cx="81439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</a:rPr>
              <a:t>196</a:t>
            </a:r>
            <a:r>
              <a:rPr lang="en-US" sz="2000" b="1" dirty="0" smtClean="0">
                <a:latin typeface="Times New Roman" pitchFamily="18" charset="0"/>
              </a:rPr>
              <a:t>3</a:t>
            </a:r>
            <a:r>
              <a:rPr lang="ru-RU" sz="2000" b="1" dirty="0" smtClean="0">
                <a:latin typeface="Times New Roman" pitchFamily="18" charset="0"/>
              </a:rPr>
              <a:t> г</a:t>
            </a:r>
            <a:r>
              <a:rPr lang="en-US" sz="2000" b="1" dirty="0" smtClean="0">
                <a:latin typeface="Times New Roman" pitchFamily="18" charset="0"/>
              </a:rPr>
              <a:t>.</a:t>
            </a:r>
            <a:r>
              <a:rPr lang="ru-RU" sz="2000" b="1" dirty="0" smtClean="0">
                <a:latin typeface="Times New Roman" pitchFamily="18" charset="0"/>
              </a:rPr>
              <a:t/>
            </a:r>
            <a:br>
              <a:rPr lang="ru-RU" sz="2000" b="1" dirty="0" smtClean="0">
                <a:latin typeface="Times New Roman" pitchFamily="18" charset="0"/>
              </a:rPr>
            </a:br>
            <a:r>
              <a:rPr lang="ru-RU" sz="2000" b="1" dirty="0" smtClean="0">
                <a:latin typeface="Times New Roman" pitchFamily="18" charset="0"/>
              </a:rPr>
              <a:t>Интересные выводы по 1-м результатам компании</a:t>
            </a:r>
            <a:r>
              <a:rPr lang="en-US" sz="2000" b="1" dirty="0" smtClean="0">
                <a:latin typeface="Times New Roman" pitchFamily="18" charset="0"/>
              </a:rPr>
              <a:t>:</a:t>
            </a:r>
            <a:endParaRPr lang="ru-RU" sz="2000" b="1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000132" y="1214422"/>
            <a:ext cx="4357686" cy="5286412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buFontTx/>
              <a:buChar char="-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Объем необходимых действий по результатам комплексных исследований 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“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далеко выходит за пределы компетенции Отдела труда и Планового управления комитета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”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“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дальнейшее улучшение организации управления производством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…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очевидно приведет к еще большему отрыву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…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и потребует перестройки руководства этой работой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”</a:t>
            </a:r>
            <a:endParaRPr lang="ru-RU" sz="20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Записка В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Гильберта – ОТИЗ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,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br>
              <a:rPr lang="ru-RU" sz="20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М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Машкина на А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Чурина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Е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Славского – виза карандашом – 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“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со всем согласен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</a:rPr>
              <a:t>”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715008" y="1285860"/>
            <a:ext cx="2928958" cy="2071702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Эта ключевая ошибка не была устранена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Из справок 1967 г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Следует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,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что руководство работу НОТ возложило на зам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ИНИСТРА по КАДРАМ!!?</a:t>
            </a:r>
            <a:br>
              <a:rPr lang="ru-RU" sz="16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А в ГПУ замкнуто на Главных инженеров!!?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215074" y="857232"/>
            <a:ext cx="1928826" cy="35719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воды 2011 г</a:t>
            </a:r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трелка вправо 11"/>
          <p:cNvSpPr/>
          <p:nvPr/>
        </p:nvSpPr>
        <p:spPr>
          <a:xfrm>
            <a:off x="5000628" y="1500174"/>
            <a:ext cx="928694" cy="714380"/>
          </a:xfrm>
          <a:prstGeom prst="rightArrow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26" name="Picture 2" descr="Картинка 21 из 4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65551" y="4714860"/>
            <a:ext cx="3278349" cy="214314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cxnSp>
        <p:nvCxnSpPr>
          <p:cNvPr id="14" name="Прямая соединительная линия 13"/>
          <p:cNvCxnSpPr/>
          <p:nvPr/>
        </p:nvCxnSpPr>
        <p:spPr>
          <a:xfrm rot="5400000">
            <a:off x="8679685" y="2964653"/>
            <a:ext cx="500066" cy="1588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 rot="10800000">
            <a:off x="8429652" y="2714620"/>
            <a:ext cx="500066" cy="158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/>
          <p:nvPr/>
        </p:nvCxnSpPr>
        <p:spPr>
          <a:xfrm rot="10800000">
            <a:off x="7993718" y="3214686"/>
            <a:ext cx="936000" cy="158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8501058" y="2143116"/>
            <a:ext cx="64294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rgbClr val="C00000"/>
                </a:solidFill>
                <a:latin typeface="Times New Roman" pitchFamily="18" charset="0"/>
              </a:rPr>
              <a:t>?</a:t>
            </a:r>
            <a:endParaRPr lang="ru-RU" sz="3600" b="1" dirty="0">
              <a:solidFill>
                <a:srgbClr val="C00000"/>
              </a:solidFill>
            </a:endParaRPr>
          </a:p>
        </p:txBody>
      </p:sp>
      <p:sp>
        <p:nvSpPr>
          <p:cNvPr id="19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0" y="6381750"/>
            <a:ext cx="457200" cy="476250"/>
          </a:xfrm>
        </p:spPr>
        <p:txBody>
          <a:bodyPr/>
          <a:lstStyle/>
          <a:p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1</a:t>
            </a:r>
            <a:endParaRPr lang="ru-RU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4" descr="Картинка 56 из 1271"/>
          <p:cNvPicPr>
            <a:picLocks noChangeAspect="1" noChangeArrowheads="1"/>
          </p:cNvPicPr>
          <p:nvPr/>
        </p:nvPicPr>
        <p:blipFill>
          <a:blip r:embed="rId2" cstate="print"/>
          <a:srcRect l="7499" t="3750" r="7500" b="8124"/>
          <a:stretch>
            <a:fillRect/>
          </a:stretch>
        </p:blipFill>
        <p:spPr bwMode="auto">
          <a:xfrm>
            <a:off x="7429520" y="4487984"/>
            <a:ext cx="1714480" cy="237001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>
          <a:xfrm>
            <a:off x="1000100" y="571480"/>
            <a:ext cx="8143900" cy="857256"/>
          </a:xfrm>
        </p:spPr>
        <p:txBody>
          <a:bodyPr>
            <a:noAutofit/>
          </a:bodyPr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Из протоколов совещаний </a:t>
            </a:r>
            <a:r>
              <a:rPr lang="ru-RU" sz="2400" b="1" dirty="0">
                <a:solidFill>
                  <a:schemeClr val="tx1"/>
                </a:solidFill>
                <a:effectLst/>
                <a:latin typeface="Times New Roman" pitchFamily="18" charset="0"/>
              </a:rPr>
              <a:t>руководителей Служб </a:t>
            </a:r>
            <a:r>
              <a:rPr lang="ru-RU" sz="2400" b="1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НОТ 1971-1972 </a:t>
            </a:r>
            <a:r>
              <a:rPr lang="ru-RU" sz="2400" b="1" dirty="0" err="1" smtClean="0">
                <a:solidFill>
                  <a:schemeClr val="tx1"/>
                </a:solidFill>
                <a:effectLst/>
                <a:latin typeface="Times New Roman" pitchFamily="18" charset="0"/>
              </a:rPr>
              <a:t>гг</a:t>
            </a:r>
            <a:r>
              <a:rPr lang="en-US" sz="2400" b="1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.</a:t>
            </a:r>
            <a:endParaRPr lang="ru-RU" sz="2000" b="1" i="1" dirty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143636" y="0"/>
            <a:ext cx="30003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i="1" dirty="0" smtClean="0">
                <a:latin typeface="Times New Roman" pitchFamily="18" charset="0"/>
              </a:rPr>
              <a:t>Министерство среднего машиностроения - 1972г.</a:t>
            </a:r>
            <a:endParaRPr lang="ru-RU" sz="14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000100" y="1782537"/>
            <a:ext cx="8143900" cy="64633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indent="-71438">
              <a:buFontTx/>
              <a:buNone/>
            </a:pP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</a:rPr>
              <a:t>Службы НОТ имеют различное подчинение</a:t>
            </a:r>
            <a:r>
              <a:rPr lang="en-US" dirty="0" smtClean="0">
                <a:solidFill>
                  <a:schemeClr val="tx1"/>
                </a:solidFill>
                <a:latin typeface="Times New Roman" pitchFamily="18" charset="0"/>
              </a:rPr>
              <a:t>: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</a:rPr>
              <a:t> Генеральный директор, Главный инженер, заместитель Главного инженера, начальник ОТ и ЗП. </a:t>
            </a:r>
            <a:endParaRPr lang="ru-RU" dirty="0">
              <a:latin typeface="Times New Roman" pitchFamily="18" charset="0"/>
            </a:endParaRPr>
          </a:p>
        </p:txBody>
      </p:sp>
      <p:sp>
        <p:nvSpPr>
          <p:cNvPr id="10" name="Ромб 9"/>
          <p:cNvSpPr/>
          <p:nvPr/>
        </p:nvSpPr>
        <p:spPr>
          <a:xfrm>
            <a:off x="571472" y="1714488"/>
            <a:ext cx="500066" cy="500066"/>
          </a:xfrm>
          <a:prstGeom prst="diamond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>
          <a:xfrm>
            <a:off x="642910" y="1714488"/>
            <a:ext cx="357190" cy="500066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j-ea"/>
                <a:cs typeface="+mj-cs"/>
              </a:rPr>
              <a:t>I</a:t>
            </a: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000100" y="2442985"/>
            <a:ext cx="81439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itchFamily="18" charset="0"/>
              </a:rPr>
              <a:t>При общем росте ПТ на 6,3% - за счет улучшения организации производства и труда лишь 0,4%, что свидетельствует о формальном подходе к НОТ в 13 ГУ.</a:t>
            </a:r>
            <a:r>
              <a:rPr lang="en-US" dirty="0" smtClean="0">
                <a:latin typeface="Times New Roman" pitchFamily="18" charset="0"/>
              </a:rPr>
              <a:t> </a:t>
            </a:r>
            <a:r>
              <a:rPr lang="ru-RU" dirty="0" smtClean="0">
                <a:latin typeface="Times New Roman" pitchFamily="18" charset="0"/>
              </a:rPr>
              <a:t>В целом по министерству 9</a:t>
            </a:r>
            <a:r>
              <a:rPr lang="en-US" dirty="0" smtClean="0">
                <a:latin typeface="Times New Roman" pitchFamily="18" charset="0"/>
              </a:rPr>
              <a:t>,</a:t>
            </a:r>
            <a:r>
              <a:rPr lang="ru-RU" dirty="0" smtClean="0">
                <a:latin typeface="Times New Roman" pitchFamily="18" charset="0"/>
              </a:rPr>
              <a:t>9% от 19</a:t>
            </a:r>
            <a:r>
              <a:rPr lang="en-US" dirty="0" smtClean="0">
                <a:latin typeface="Times New Roman" pitchFamily="18" charset="0"/>
              </a:rPr>
              <a:t>,4% (50% </a:t>
            </a:r>
            <a:r>
              <a:rPr lang="ru-RU" dirty="0" smtClean="0">
                <a:latin typeface="Times New Roman" pitchFamily="18" charset="0"/>
              </a:rPr>
              <a:t>прироста ПТ</a:t>
            </a:r>
            <a:r>
              <a:rPr lang="en-US" dirty="0" smtClean="0">
                <a:latin typeface="Times New Roman" pitchFamily="18" charset="0"/>
              </a:rPr>
              <a:t>)</a:t>
            </a:r>
            <a:endParaRPr lang="ru-RU" dirty="0">
              <a:latin typeface="Times New Roman" pitchFamily="18" charset="0"/>
            </a:endParaRPr>
          </a:p>
        </p:txBody>
      </p:sp>
      <p:sp>
        <p:nvSpPr>
          <p:cNvPr id="14" name="Ромб 13"/>
          <p:cNvSpPr/>
          <p:nvPr/>
        </p:nvSpPr>
        <p:spPr>
          <a:xfrm>
            <a:off x="571472" y="2428868"/>
            <a:ext cx="500066" cy="500066"/>
          </a:xfrm>
          <a:prstGeom prst="diamond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Rectangle 2"/>
          <p:cNvSpPr txBox="1">
            <a:spLocks noChangeArrowheads="1"/>
          </p:cNvSpPr>
          <p:nvPr/>
        </p:nvSpPr>
        <p:spPr>
          <a:xfrm>
            <a:off x="642910" y="2428868"/>
            <a:ext cx="357190" cy="500066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j-ea"/>
                <a:cs typeface="+mj-cs"/>
              </a:rPr>
              <a:t>II</a:t>
            </a: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6" name="Ромб 15"/>
          <p:cNvSpPr/>
          <p:nvPr/>
        </p:nvSpPr>
        <p:spPr>
          <a:xfrm>
            <a:off x="571472" y="3214686"/>
            <a:ext cx="500066" cy="500066"/>
          </a:xfrm>
          <a:prstGeom prst="diamond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Rectangle 2"/>
          <p:cNvSpPr txBox="1">
            <a:spLocks noChangeArrowheads="1"/>
          </p:cNvSpPr>
          <p:nvPr/>
        </p:nvSpPr>
        <p:spPr>
          <a:xfrm>
            <a:off x="571472" y="3214686"/>
            <a:ext cx="428628" cy="500066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j-ea"/>
                <a:cs typeface="+mj-cs"/>
              </a:rPr>
              <a:t>III</a:t>
            </a: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8" name="Ромб 17"/>
          <p:cNvSpPr/>
          <p:nvPr/>
        </p:nvSpPr>
        <p:spPr>
          <a:xfrm>
            <a:off x="571472" y="4929198"/>
            <a:ext cx="500066" cy="500066"/>
          </a:xfrm>
          <a:prstGeom prst="diamond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Rectangle 2"/>
          <p:cNvSpPr txBox="1">
            <a:spLocks noChangeArrowheads="1"/>
          </p:cNvSpPr>
          <p:nvPr/>
        </p:nvSpPr>
        <p:spPr>
          <a:xfrm>
            <a:off x="642910" y="4929198"/>
            <a:ext cx="428628" cy="500066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j-ea"/>
                <a:cs typeface="+mj-cs"/>
              </a:rPr>
              <a:t>IV</a:t>
            </a: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20" name="Ромб 19"/>
          <p:cNvSpPr/>
          <p:nvPr/>
        </p:nvSpPr>
        <p:spPr>
          <a:xfrm>
            <a:off x="571472" y="5857892"/>
            <a:ext cx="500066" cy="500066"/>
          </a:xfrm>
          <a:prstGeom prst="diamond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Rectangle 2"/>
          <p:cNvSpPr txBox="1">
            <a:spLocks noChangeArrowheads="1"/>
          </p:cNvSpPr>
          <p:nvPr/>
        </p:nvSpPr>
        <p:spPr>
          <a:xfrm>
            <a:off x="642910" y="5857892"/>
            <a:ext cx="357190" cy="500066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j-ea"/>
                <a:cs typeface="+mj-cs"/>
              </a:rPr>
              <a:t>V</a:t>
            </a: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000100" y="3291488"/>
            <a:ext cx="81439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itchFamily="18" charset="0"/>
              </a:rPr>
              <a:t>Имеются факты превышения затрат на внедрение мероприятий по НОТ на организационно-экономической эффективностью (144 73 тыс. руб. затрат при экономии 122 тыс. руб. и т.д.).</a:t>
            </a:r>
            <a:endParaRPr lang="ru-RU" dirty="0">
              <a:latin typeface="Times New Roman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1000100" y="5006000"/>
            <a:ext cx="81439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itchFamily="18" charset="0"/>
              </a:rPr>
              <a:t>Активно используются комплексные планы НОТ</a:t>
            </a:r>
            <a:r>
              <a:rPr lang="en-US" dirty="0" smtClean="0">
                <a:latin typeface="Times New Roman" pitchFamily="18" charset="0"/>
              </a:rPr>
              <a:t>. </a:t>
            </a:r>
            <a:br>
              <a:rPr lang="en-US" dirty="0" smtClean="0">
                <a:latin typeface="Times New Roman" pitchFamily="18" charset="0"/>
              </a:rPr>
            </a:br>
            <a:r>
              <a:rPr lang="ru-RU" dirty="0" smtClean="0">
                <a:latin typeface="Times New Roman" pitchFamily="18" charset="0"/>
              </a:rPr>
              <a:t>Например</a:t>
            </a:r>
            <a:r>
              <a:rPr lang="en-US" dirty="0" smtClean="0">
                <a:latin typeface="Times New Roman" pitchFamily="18" charset="0"/>
              </a:rPr>
              <a:t>:</a:t>
            </a:r>
            <a:r>
              <a:rPr lang="ru-RU" dirty="0" smtClean="0">
                <a:latin typeface="Times New Roman" pitchFamily="18" charset="0"/>
              </a:rPr>
              <a:t> 328 комплексных планов НОТ на предприятиях 1 ГПУ</a:t>
            </a:r>
            <a:r>
              <a:rPr lang="en-US" dirty="0" smtClean="0">
                <a:latin typeface="Times New Roman" pitchFamily="18" charset="0"/>
              </a:rPr>
              <a:t>.</a:t>
            </a:r>
            <a:r>
              <a:rPr lang="ru-RU" dirty="0" smtClean="0">
                <a:latin typeface="Times New Roman" pitchFamily="18" charset="0"/>
              </a:rPr>
              <a:t> </a:t>
            </a:r>
            <a:r>
              <a:rPr lang="en-US" dirty="0" smtClean="0">
                <a:latin typeface="Times New Roman" pitchFamily="18" charset="0"/>
              </a:rPr>
              <a:t/>
            </a:r>
            <a:br>
              <a:rPr lang="en-US" dirty="0" smtClean="0">
                <a:latin typeface="Times New Roman" pitchFamily="18" charset="0"/>
              </a:rPr>
            </a:br>
            <a:r>
              <a:rPr lang="ru-RU" dirty="0" smtClean="0">
                <a:latin typeface="Times New Roman" pitchFamily="18" charset="0"/>
              </a:rPr>
              <a:t>Отдельные предприятия – охват</a:t>
            </a:r>
            <a:r>
              <a:rPr lang="en-US" dirty="0" smtClean="0">
                <a:latin typeface="Times New Roman" pitchFamily="18" charset="0"/>
              </a:rPr>
              <a:t> </a:t>
            </a:r>
            <a:r>
              <a:rPr lang="ru-RU" dirty="0" smtClean="0">
                <a:latin typeface="Times New Roman" pitchFamily="18" charset="0"/>
              </a:rPr>
              <a:t>до 90%</a:t>
            </a:r>
            <a:r>
              <a:rPr lang="en-US" dirty="0" smtClean="0">
                <a:latin typeface="Times New Roman" pitchFamily="18" charset="0"/>
              </a:rPr>
              <a:t>.</a:t>
            </a:r>
            <a:endParaRPr lang="ru-RU" dirty="0">
              <a:latin typeface="Times New Roman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000100" y="5934694"/>
            <a:ext cx="81439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itchFamily="18" charset="0"/>
              </a:rPr>
              <a:t>Уровень механизации ручного труда был доведен</a:t>
            </a:r>
            <a:r>
              <a:rPr lang="en-US" dirty="0" smtClean="0">
                <a:latin typeface="Times New Roman" pitchFamily="18" charset="0"/>
              </a:rPr>
              <a:t>:</a:t>
            </a:r>
            <a:endParaRPr lang="ru-RU" dirty="0" smtClean="0">
              <a:latin typeface="Times New Roman" pitchFamily="18" charset="0"/>
            </a:endParaRPr>
          </a:p>
          <a:p>
            <a:r>
              <a:rPr lang="ru-RU" dirty="0" smtClean="0">
                <a:latin typeface="Times New Roman" pitchFamily="18" charset="0"/>
              </a:rPr>
              <a:t>- в основном производстве – до 92%</a:t>
            </a:r>
            <a:br>
              <a:rPr lang="ru-RU" dirty="0" smtClean="0">
                <a:latin typeface="Times New Roman" pitchFamily="18" charset="0"/>
              </a:rPr>
            </a:br>
            <a:r>
              <a:rPr lang="ru-RU" dirty="0" smtClean="0">
                <a:latin typeface="Times New Roman" pitchFamily="18" charset="0"/>
              </a:rPr>
              <a:t>- во вспомогательном – до 84%</a:t>
            </a:r>
            <a:endParaRPr lang="ru-RU" dirty="0">
              <a:latin typeface="Times New Roman" pitchFamily="18" charset="0"/>
            </a:endParaRPr>
          </a:p>
        </p:txBody>
      </p:sp>
      <p:sp>
        <p:nvSpPr>
          <p:cNvPr id="28" name="Овал 27"/>
          <p:cNvSpPr/>
          <p:nvPr/>
        </p:nvSpPr>
        <p:spPr>
          <a:xfrm>
            <a:off x="142844" y="1785926"/>
            <a:ext cx="357190" cy="357190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</a:t>
            </a:r>
            <a:endParaRPr lang="ru-RU" sz="3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9" name="Овал 28"/>
          <p:cNvSpPr/>
          <p:nvPr/>
        </p:nvSpPr>
        <p:spPr>
          <a:xfrm>
            <a:off x="142844" y="2500306"/>
            <a:ext cx="357190" cy="357190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</a:t>
            </a:r>
            <a:endParaRPr lang="ru-RU" sz="3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0" name="Овал 29"/>
          <p:cNvSpPr/>
          <p:nvPr/>
        </p:nvSpPr>
        <p:spPr>
          <a:xfrm>
            <a:off x="142844" y="3286124"/>
            <a:ext cx="357190" cy="357190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</a:t>
            </a:r>
            <a:endParaRPr lang="ru-RU" sz="3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1" name="Овал 30"/>
          <p:cNvSpPr/>
          <p:nvPr/>
        </p:nvSpPr>
        <p:spPr>
          <a:xfrm>
            <a:off x="142844" y="5072074"/>
            <a:ext cx="357190" cy="357190"/>
          </a:xfrm>
          <a:prstGeom prst="ellipse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+</a:t>
            </a:r>
            <a:endParaRPr lang="ru-RU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2" name="Овал 31"/>
          <p:cNvSpPr/>
          <p:nvPr/>
        </p:nvSpPr>
        <p:spPr>
          <a:xfrm>
            <a:off x="142844" y="5929330"/>
            <a:ext cx="357190" cy="357190"/>
          </a:xfrm>
          <a:prstGeom prst="ellipse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+</a:t>
            </a:r>
            <a:endParaRPr lang="ru-RU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0" y="6381750"/>
            <a:ext cx="457200" cy="476250"/>
          </a:xfrm>
        </p:spPr>
        <p:txBody>
          <a:bodyPr/>
          <a:lstStyle/>
          <a:p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en-US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ru-RU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6" name="Picture 2" descr="Картинка 18 из 4678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17339" y="3714752"/>
            <a:ext cx="1640743" cy="169609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Картинка 42 из 4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29486" y="971575"/>
            <a:ext cx="2214546" cy="310036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>
          <a:xfrm>
            <a:off x="1000099" y="428604"/>
            <a:ext cx="8143901" cy="928694"/>
          </a:xfrm>
        </p:spPr>
        <p:txBody>
          <a:bodyPr>
            <a:noAutofit/>
          </a:bodyPr>
          <a:lstStyle/>
          <a:p>
            <a:pPr algn="ctr"/>
            <a:r>
              <a:rPr lang="ru-RU" sz="1800" b="1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Докладная </a:t>
            </a:r>
            <a:r>
              <a:rPr lang="ru-RU" sz="1800" b="1" dirty="0">
                <a:solidFill>
                  <a:schemeClr val="tx1"/>
                </a:solidFill>
                <a:effectLst/>
                <a:latin typeface="Times New Roman" pitchFamily="18" charset="0"/>
              </a:rPr>
              <a:t>записка начальника УОТ и З.ВФ. Гильберта т. Славскому Е.П.</a:t>
            </a:r>
            <a:br>
              <a:rPr lang="ru-RU" sz="1800" b="1" dirty="0">
                <a:solidFill>
                  <a:schemeClr val="tx1"/>
                </a:solidFill>
                <a:effectLst/>
                <a:latin typeface="Times New Roman" pitchFamily="18" charset="0"/>
              </a:rPr>
            </a:br>
            <a:r>
              <a:rPr lang="ru-RU" sz="1800" b="1" dirty="0">
                <a:solidFill>
                  <a:schemeClr val="tx1"/>
                </a:solidFill>
                <a:effectLst/>
                <a:latin typeface="Times New Roman" pitchFamily="18" charset="0"/>
              </a:rPr>
              <a:t>«О сокращении расходов на содержание аппарата управления отрасли» (АУ)</a:t>
            </a:r>
            <a:endParaRPr lang="ru-RU" sz="1800" b="1" i="1" dirty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143108" y="6273249"/>
            <a:ext cx="7000924" cy="58477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indent="-71438">
              <a:buFontTx/>
              <a:buNone/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</a:rPr>
              <a:t>Эта тема актуальна всегда</a:t>
            </a:r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</a:rPr>
              <a:t>.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</a:rPr>
              <a:t> Но! Нельзя ее административно ставить как цель для ПСР</a:t>
            </a:r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</a:rPr>
              <a:t>.</a:t>
            </a:r>
            <a:endParaRPr lang="ru-RU" sz="1600" dirty="0">
              <a:latin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928726" y="6273249"/>
            <a:ext cx="1285820" cy="35719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вод </a:t>
            </a:r>
            <a:r>
              <a:rPr lang="en-US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143636" y="0"/>
            <a:ext cx="30003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i="1" dirty="0" smtClean="0">
                <a:latin typeface="Times New Roman" pitchFamily="18" charset="0"/>
              </a:rPr>
              <a:t>Министерство среднего машиностроения - 197</a:t>
            </a:r>
            <a:r>
              <a:rPr lang="en-US" sz="1400" i="1" dirty="0" smtClean="0">
                <a:latin typeface="Times New Roman" pitchFamily="18" charset="0"/>
              </a:rPr>
              <a:t>5</a:t>
            </a:r>
            <a:r>
              <a:rPr lang="ru-RU" sz="1400" i="1" dirty="0" smtClean="0">
                <a:latin typeface="Times New Roman" pitchFamily="18" charset="0"/>
              </a:rPr>
              <a:t>г.</a:t>
            </a:r>
            <a:endParaRPr lang="ru-RU" sz="14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1000100" y="1648414"/>
            <a:ext cx="4572032" cy="92333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dirty="0" smtClean="0">
                <a:latin typeface="Times New Roman" pitchFamily="18" charset="0"/>
              </a:rPr>
              <a:t>-   АУ отрасли – 15,4% в общей численности </a:t>
            </a:r>
            <a:br>
              <a:rPr lang="ru-RU" dirty="0" smtClean="0">
                <a:latin typeface="Times New Roman" pitchFamily="18" charset="0"/>
              </a:rPr>
            </a:br>
            <a:r>
              <a:rPr lang="ru-RU" dirty="0" smtClean="0">
                <a:latin typeface="Times New Roman" pitchFamily="18" charset="0"/>
              </a:rPr>
              <a:t>рабочих и служащих </a:t>
            </a:r>
            <a:r>
              <a:rPr lang="en-US" dirty="0" smtClean="0">
                <a:latin typeface="Times New Roman" pitchFamily="18" charset="0"/>
              </a:rPr>
              <a:t/>
            </a:r>
            <a:br>
              <a:rPr lang="en-US" dirty="0" smtClean="0">
                <a:latin typeface="Times New Roman" pitchFamily="18" charset="0"/>
              </a:rPr>
            </a:br>
            <a:r>
              <a:rPr lang="ru-RU" dirty="0" smtClean="0">
                <a:latin typeface="Times New Roman" pitchFamily="18" charset="0"/>
              </a:rPr>
              <a:t>(каждый 7-ой!).</a:t>
            </a:r>
            <a:endParaRPr lang="ru-RU" dirty="0">
              <a:latin typeface="Times New Roman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000100" y="2711231"/>
            <a:ext cx="5000660" cy="646331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dirty="0" smtClean="0">
                <a:latin typeface="Times New Roman" pitchFamily="18" charset="0"/>
              </a:rPr>
              <a:t>-   Аппарат за 1974г. вырос на 3,3% в то время, </a:t>
            </a:r>
            <a:br>
              <a:rPr lang="ru-RU" dirty="0" smtClean="0">
                <a:latin typeface="Times New Roman" pitchFamily="18" charset="0"/>
              </a:rPr>
            </a:br>
            <a:r>
              <a:rPr lang="ru-RU" dirty="0" smtClean="0">
                <a:latin typeface="Times New Roman" pitchFamily="18" charset="0"/>
              </a:rPr>
              <a:t>как общая численность  на 2,8%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000100" y="3424198"/>
            <a:ext cx="8143900" cy="286232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buFontTx/>
              <a:buChar char="-"/>
            </a:pPr>
            <a:r>
              <a:rPr lang="ru-RU" dirty="0" smtClean="0">
                <a:latin typeface="Times New Roman" pitchFamily="18" charset="0"/>
              </a:rPr>
              <a:t> Опережающий рост численности АУ допустили предприятия 6,10 и 12 Главных управлений.</a:t>
            </a:r>
          </a:p>
          <a:p>
            <a:pPr>
              <a:buFontTx/>
              <a:buChar char="-"/>
            </a:pPr>
            <a:r>
              <a:rPr lang="ru-RU" dirty="0" smtClean="0">
                <a:latin typeface="Times New Roman" pitchFamily="18" charset="0"/>
              </a:rPr>
              <a:t>   Высокий удельный вес АУ у : 3-х предприятий – 1 ГУ</a:t>
            </a:r>
          </a:p>
          <a:p>
            <a:r>
              <a:rPr lang="ru-RU" dirty="0" smtClean="0">
                <a:latin typeface="Times New Roman" pitchFamily="18" charset="0"/>
              </a:rPr>
              <a:t>			  3-х  3 ГУ</a:t>
            </a:r>
          </a:p>
          <a:p>
            <a:r>
              <a:rPr lang="ru-RU" dirty="0" smtClean="0">
                <a:latin typeface="Times New Roman" pitchFamily="18" charset="0"/>
              </a:rPr>
              <a:t>			  2-х  4 ГУ	</a:t>
            </a:r>
          </a:p>
          <a:p>
            <a:r>
              <a:rPr lang="ru-RU" dirty="0" smtClean="0">
                <a:latin typeface="Times New Roman" pitchFamily="18" charset="0"/>
              </a:rPr>
              <a:t>			  2-х  6 ГУ и т.д.</a:t>
            </a:r>
          </a:p>
          <a:p>
            <a:pPr>
              <a:buFontTx/>
              <a:buChar char="-"/>
            </a:pPr>
            <a:r>
              <a:rPr lang="ru-RU" dirty="0" smtClean="0">
                <a:latin typeface="Times New Roman" pitchFamily="18" charset="0"/>
              </a:rPr>
              <a:t>1974г. – ревизии были проведены на 127 предприятиях. По всем фактам нарушений приняты решения (приказы, письма).</a:t>
            </a:r>
          </a:p>
          <a:p>
            <a:endParaRPr lang="ru-RU" dirty="0" smtClean="0">
              <a:latin typeface="Times New Roman" pitchFamily="18" charset="0"/>
            </a:endParaRPr>
          </a:p>
          <a:p>
            <a:pPr algn="ctr"/>
            <a:r>
              <a:rPr lang="ru-RU" dirty="0" smtClean="0">
                <a:latin typeface="Times New Roman" pitchFamily="18" charset="0"/>
              </a:rPr>
              <a:t>Виза Е.П. Славского – «Переговорите со мной»</a:t>
            </a:r>
            <a:endParaRPr lang="ru-RU" dirty="0"/>
          </a:p>
        </p:txBody>
      </p:sp>
      <p:sp>
        <p:nvSpPr>
          <p:cNvPr id="1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0" y="6381750"/>
            <a:ext cx="457200" cy="476250"/>
          </a:xfrm>
        </p:spPr>
        <p:txBody>
          <a:bodyPr/>
          <a:lstStyle/>
          <a:p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3</a:t>
            </a:r>
            <a:endParaRPr lang="ru-RU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Picture 4" descr="Картинка 35 из 10253"/>
          <p:cNvPicPr>
            <a:picLocks noChangeAspect="1" noChangeArrowheads="1"/>
          </p:cNvPicPr>
          <p:nvPr/>
        </p:nvPicPr>
        <p:blipFill>
          <a:blip r:embed="rId2" cstate="print"/>
          <a:srcRect l="6579" t="6250" r="4605" b="8333"/>
          <a:stretch>
            <a:fillRect/>
          </a:stretch>
        </p:blipFill>
        <p:spPr bwMode="auto">
          <a:xfrm>
            <a:off x="1000099" y="3458103"/>
            <a:ext cx="2286017" cy="347135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1000100" y="0"/>
            <a:ext cx="8143900" cy="857256"/>
          </a:xfrm>
        </p:spPr>
        <p:txBody>
          <a:bodyPr>
            <a:noAutofit/>
          </a:bodyPr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Анализ выполнения по НОТ и ОУ</a:t>
            </a:r>
            <a:br>
              <a:rPr lang="ru-RU" sz="2400" b="1" dirty="0" smtClean="0">
                <a:solidFill>
                  <a:schemeClr val="tx1"/>
                </a:solidFill>
                <a:effectLst/>
                <a:latin typeface="Times New Roman" pitchFamily="18" charset="0"/>
              </a:rPr>
            </a:br>
            <a:r>
              <a:rPr lang="ru-RU" sz="2400" b="1" dirty="0" err="1" smtClean="0">
                <a:solidFill>
                  <a:schemeClr val="tx1"/>
                </a:solidFill>
                <a:effectLst/>
                <a:latin typeface="Times New Roman" pitchFamily="18" charset="0"/>
              </a:rPr>
              <a:t>Минсредмаша</a:t>
            </a:r>
            <a:r>
              <a:rPr lang="ru-RU" sz="2400" b="1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 – 1979 г</a:t>
            </a:r>
            <a:r>
              <a:rPr lang="en-US" sz="2400" b="1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.</a:t>
            </a:r>
            <a:endParaRPr lang="ru-RU" sz="2000" b="1" i="1" dirty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1428728" y="1000108"/>
            <a:ext cx="7715272" cy="78581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Для сопоставимости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работы по НОТ принят показатель экономической эффективности на 1 </a:t>
            </a:r>
            <a:r>
              <a:rPr kumimoji="0" lang="ru-RU" sz="1600" i="0" u="none" strike="noStrike" kern="120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руб</a:t>
            </a:r>
            <a:r>
              <a:rPr kumimoji="0" lang="en-US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.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затрат</a:t>
            </a:r>
            <a:r>
              <a:rPr kumimoji="0" lang="en-US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.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 В 1979 г</a:t>
            </a:r>
            <a:r>
              <a:rPr kumimoji="0" lang="en-US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.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– по основным промышленным предприятиям – 4</a:t>
            </a:r>
            <a:r>
              <a:rPr kumimoji="0" lang="en-US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,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1</a:t>
            </a:r>
            <a:r>
              <a:rPr kumimoji="0" lang="en-US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</a:t>
            </a:r>
            <a:r>
              <a:rPr kumimoji="0" lang="ru-RU" sz="1600" i="0" u="none" strike="noStrike" kern="120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руб</a:t>
            </a:r>
            <a:r>
              <a:rPr kumimoji="0" lang="en-US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.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(при плане 2</a:t>
            </a:r>
            <a:r>
              <a:rPr kumimoji="0" lang="en-US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,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7</a:t>
            </a:r>
            <a:r>
              <a:rPr kumimoji="0" lang="en-US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</a:t>
            </a:r>
            <a:r>
              <a:rPr kumimoji="0" lang="ru-RU" sz="1600" i="0" u="none" strike="noStrike" kern="120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руб</a:t>
            </a:r>
            <a:r>
              <a:rPr kumimoji="0" lang="en-US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.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)</a:t>
            </a:r>
            <a:endParaRPr kumimoji="0" lang="ru-RU" sz="1400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2000232" y="1857364"/>
            <a:ext cx="7143768" cy="100013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Движение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по созданию образцовых подразделений по НОТ П и УП</a:t>
            </a:r>
            <a:b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</a:b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637 – 17</a:t>
            </a:r>
            <a:r>
              <a:rPr kumimoji="0" lang="en-US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,2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% от общей численности рабочих</a:t>
            </a:r>
            <a:r>
              <a:rPr kumimoji="0" lang="en-US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,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ИТР и служащих</a:t>
            </a:r>
            <a:r>
              <a:rPr kumimoji="0" lang="en-US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.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/>
            </a:r>
            <a:b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</a:b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Охват численности работающих в образцовых подразделениях становится одним из основных показателей</a:t>
            </a:r>
            <a:r>
              <a:rPr kumimoji="0" lang="en-US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.</a:t>
            </a:r>
            <a:endParaRPr kumimoji="0" lang="ru-RU" sz="1400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2643174" y="2928934"/>
            <a:ext cx="6500858" cy="57150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Удельный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вес рабочих мест в отрасли</a:t>
            </a:r>
            <a:r>
              <a:rPr kumimoji="0" lang="en-US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,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организованных по типовым проектам и картам от – 36</a:t>
            </a:r>
            <a:r>
              <a:rPr kumimoji="0" lang="en-US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,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3 % (промышленные предприятия -47%)</a:t>
            </a:r>
            <a:endParaRPr kumimoji="0" lang="ru-RU" sz="1400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>
          <a:xfrm>
            <a:off x="3286116" y="3571876"/>
            <a:ext cx="5857884" cy="78581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 smtClean="0">
                <a:latin typeface="Times New Roman" pitchFamily="18" charset="0"/>
                <a:ea typeface="+mj-ea"/>
                <a:cs typeface="+mj-cs"/>
              </a:rPr>
              <a:t>Внедрение бригадной формы организации и стимулирования труда – 46</a:t>
            </a:r>
            <a:r>
              <a:rPr lang="en-US" sz="1600" dirty="0" smtClean="0">
                <a:latin typeface="Times New Roman" pitchFamily="18" charset="0"/>
                <a:ea typeface="+mj-ea"/>
                <a:cs typeface="+mj-cs"/>
              </a:rPr>
              <a:t>,</a:t>
            </a:r>
            <a:r>
              <a:rPr lang="ru-RU" sz="1600" dirty="0" smtClean="0">
                <a:latin typeface="Times New Roman" pitchFamily="18" charset="0"/>
                <a:ea typeface="+mj-ea"/>
                <a:cs typeface="+mj-cs"/>
              </a:rPr>
              <a:t>2</a:t>
            </a:r>
            <a:r>
              <a:rPr lang="en-US" sz="1600" dirty="0" smtClean="0">
                <a:latin typeface="Times New Roman" pitchFamily="18" charset="0"/>
                <a:ea typeface="+mj-ea"/>
                <a:cs typeface="+mj-cs"/>
              </a:rPr>
              <a:t>% </a:t>
            </a:r>
            <a:r>
              <a:rPr lang="ru-RU" sz="1600" dirty="0" smtClean="0">
                <a:latin typeface="Times New Roman" pitchFamily="18" charset="0"/>
                <a:ea typeface="+mj-ea"/>
                <a:cs typeface="+mj-cs"/>
              </a:rPr>
              <a:t>по Министерству (горные</a:t>
            </a:r>
            <a:r>
              <a:rPr lang="en-US" sz="1600" dirty="0" smtClean="0">
                <a:latin typeface="Times New Roman" pitchFamily="18" charset="0"/>
                <a:ea typeface="+mj-ea"/>
                <a:cs typeface="+mj-cs"/>
              </a:rPr>
              <a:t>,</a:t>
            </a:r>
            <a:r>
              <a:rPr lang="ru-RU" sz="1600" dirty="0" smtClean="0">
                <a:latin typeface="Times New Roman" pitchFamily="18" charset="0"/>
                <a:ea typeface="+mj-ea"/>
                <a:cs typeface="+mj-cs"/>
              </a:rPr>
              <a:t> перерабатывающие – до 60%)</a:t>
            </a: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3924300" y="4429132"/>
            <a:ext cx="5219700" cy="78581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 err="1" smtClean="0">
                <a:latin typeface="Times New Roman" pitchFamily="18" charset="0"/>
                <a:ea typeface="+mj-ea"/>
                <a:cs typeface="+mj-cs"/>
              </a:rPr>
              <a:t>Щекинский</a:t>
            </a:r>
            <a:r>
              <a:rPr lang="ru-RU" sz="1600" dirty="0" smtClean="0">
                <a:latin typeface="Times New Roman" pitchFamily="18" charset="0"/>
                <a:ea typeface="+mj-ea"/>
                <a:cs typeface="+mj-cs"/>
              </a:rPr>
              <a:t> метод по материальному стимулированию совмещений профессий</a:t>
            </a:r>
            <a:r>
              <a:rPr lang="en-US" sz="1600" dirty="0" smtClean="0">
                <a:latin typeface="Times New Roman" pitchFamily="18" charset="0"/>
                <a:ea typeface="+mj-ea"/>
                <a:cs typeface="+mj-cs"/>
              </a:rPr>
              <a:t>,</a:t>
            </a:r>
            <a:r>
              <a:rPr lang="ru-RU" sz="1600" dirty="0" smtClean="0">
                <a:latin typeface="Times New Roman" pitchFamily="18" charset="0"/>
                <a:ea typeface="+mj-ea"/>
                <a:cs typeface="+mj-cs"/>
              </a:rPr>
              <a:t> расширения зон обслуживания – высвобождено 2600 чел</a:t>
            </a:r>
            <a:r>
              <a:rPr lang="en-US" sz="1600" dirty="0" smtClean="0">
                <a:latin typeface="Times New Roman" pitchFamily="18" charset="0"/>
                <a:ea typeface="+mj-ea"/>
                <a:cs typeface="+mj-cs"/>
              </a:rPr>
              <a:t>.</a:t>
            </a:r>
            <a:endParaRPr lang="ru-RU" sz="1600" dirty="0" smtClean="0"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571604" y="6027027"/>
            <a:ext cx="7572396" cy="830997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indent="-71438" algn="ctr">
              <a:buFontTx/>
              <a:buNone/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</a:rPr>
              <a:t>Половина общего прироста ПТ в целом по Министерству было обеспечению за счет фактора НОТП и ОУ</a:t>
            </a:r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</a:rPr>
              <a:t>.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</a:rPr>
              <a:t/>
            </a:r>
            <a:br>
              <a:rPr lang="ru-RU" sz="1600" dirty="0" smtClean="0">
                <a:solidFill>
                  <a:schemeClr val="tx1"/>
                </a:solidFill>
                <a:latin typeface="Times New Roman" pitchFamily="18" charset="0"/>
              </a:rPr>
            </a:b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</a:rPr>
              <a:t>ПСР – можно ставить такой же ориентир цели</a:t>
            </a:r>
            <a:endParaRPr lang="ru-RU" sz="1600" dirty="0">
              <a:latin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57222" y="6000768"/>
            <a:ext cx="1285820" cy="35719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вод </a:t>
            </a:r>
            <a:r>
              <a:rPr lang="en-US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0" y="6381750"/>
            <a:ext cx="457200" cy="476250"/>
          </a:xfrm>
        </p:spPr>
        <p:txBody>
          <a:bodyPr/>
          <a:lstStyle/>
          <a:p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4</a:t>
            </a:r>
            <a:endParaRPr lang="ru-RU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1071538" y="1214422"/>
            <a:ext cx="428628" cy="428628"/>
          </a:xfrm>
          <a:prstGeom prst="ellipse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Овал 20"/>
          <p:cNvSpPr/>
          <p:nvPr/>
        </p:nvSpPr>
        <p:spPr>
          <a:xfrm>
            <a:off x="1643042" y="2143116"/>
            <a:ext cx="428628" cy="428628"/>
          </a:xfrm>
          <a:prstGeom prst="ellipse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/>
          <p:cNvSpPr/>
          <p:nvPr/>
        </p:nvSpPr>
        <p:spPr>
          <a:xfrm>
            <a:off x="2285984" y="3000372"/>
            <a:ext cx="428628" cy="428628"/>
          </a:xfrm>
          <a:prstGeom prst="ellipse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/>
          <p:cNvSpPr/>
          <p:nvPr/>
        </p:nvSpPr>
        <p:spPr>
          <a:xfrm>
            <a:off x="2928926" y="3714752"/>
            <a:ext cx="428628" cy="428628"/>
          </a:xfrm>
          <a:prstGeom prst="ellipse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/>
          <p:cNvSpPr/>
          <p:nvPr/>
        </p:nvSpPr>
        <p:spPr>
          <a:xfrm>
            <a:off x="3571868" y="4643446"/>
            <a:ext cx="428628" cy="428628"/>
          </a:xfrm>
          <a:prstGeom prst="ellipse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Таблица 11"/>
          <p:cNvGraphicFramePr>
            <a:graphicFrameLocks noGrp="1"/>
          </p:cNvGraphicFramePr>
          <p:nvPr/>
        </p:nvGraphicFramePr>
        <p:xfrm>
          <a:off x="1000100" y="3285302"/>
          <a:ext cx="8143900" cy="3572698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5143536"/>
                <a:gridCol w="3000364"/>
              </a:tblGrid>
              <a:tr h="436524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Times New Roman" pitchFamily="18" charset="0"/>
                          <a:cs typeface="Times New Roman" pitchFamily="18" charset="0"/>
                        </a:rPr>
                        <a:t>НОТП и У </a:t>
                      </a:r>
                      <a:r>
                        <a:rPr lang="ru-RU" sz="200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Минсредмаша</a:t>
                      </a:r>
                      <a:endParaRPr lang="ru-RU" sz="2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Times New Roman" pitchFamily="18" charset="0"/>
                          <a:cs typeface="Times New Roman" pitchFamily="18" charset="0"/>
                        </a:rPr>
                        <a:t>ПС</a:t>
                      </a:r>
                      <a:r>
                        <a:rPr lang="ru-RU" sz="2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ГК </a:t>
                      </a:r>
                      <a:r>
                        <a:rPr lang="en-US" sz="2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“</a:t>
                      </a:r>
                      <a:r>
                        <a:rPr lang="ru-RU" sz="2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Росатом</a:t>
                      </a:r>
                      <a:r>
                        <a:rPr lang="en-US" sz="2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”</a:t>
                      </a:r>
                      <a:endParaRPr lang="ru-RU" sz="2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89830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1. </a:t>
                      </a:r>
                      <a:r>
                        <a:rPr kumimoji="0" lang="ru-RU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Руководство работой по НОТ в отрасли осуществляет главный инженер ГУ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2237873">
                <a:tc>
                  <a:txBody>
                    <a:bodyPr/>
                    <a:lstStyle/>
                    <a:p>
                      <a:r>
                        <a:rPr lang="ru-RU" sz="1700" dirty="0" smtClean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lang="en-US" sz="1700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700" dirty="0" smtClean="0">
                          <a:latin typeface="Times New Roman" pitchFamily="18" charset="0"/>
                          <a:cs typeface="Times New Roman" pitchFamily="18" charset="0"/>
                        </a:rPr>
                        <a:t>Отраслевая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ТК по НОТ – Постоянная техническая комиссия создается при Главном инженере Г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У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и является совещательным органом</a:t>
                      </a:r>
                    </a:p>
                    <a:p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Задачи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: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ланирование НОТ (5лет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год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квартал) + Разработка мероприятий по внедрению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Базовая организация проведения ОНОУ исследования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разработок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роверок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рекомендаций и 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/>
                      </a:r>
                      <a:b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методик – </a:t>
                      </a:r>
                      <a:r>
                        <a:rPr lang="ru-RU" sz="1700" baseline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я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Г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-4665</a:t>
                      </a:r>
                      <a:endParaRPr lang="ru-RU" sz="17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1760" name="Rectangle 16"/>
          <p:cNvSpPr>
            <a:spLocks noGrp="1" noChangeArrowheads="1"/>
          </p:cNvSpPr>
          <p:nvPr>
            <p:ph type="title"/>
          </p:nvPr>
        </p:nvSpPr>
        <p:spPr>
          <a:xfrm>
            <a:off x="2857488" y="2489217"/>
            <a:ext cx="4000528" cy="439717"/>
          </a:xfrm>
        </p:spPr>
        <p:txBody>
          <a:bodyPr>
            <a:normAutofit/>
          </a:bodyPr>
          <a:lstStyle/>
          <a:p>
            <a:pPr algn="ctr"/>
            <a:r>
              <a:rPr lang="ru-RU" sz="2000" b="1" dirty="0">
                <a:solidFill>
                  <a:schemeClr val="tx1"/>
                </a:solidFill>
                <a:effectLst/>
                <a:latin typeface="Times New Roman" pitchFamily="18" charset="0"/>
              </a:rPr>
              <a:t>Элементы </a:t>
            </a:r>
            <a:r>
              <a:rPr lang="en-US" sz="2000" b="1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 </a:t>
            </a:r>
            <a:r>
              <a:rPr lang="ru-RU" sz="2000" b="1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преемственности</a:t>
            </a:r>
            <a:endParaRPr lang="ru-RU" sz="2000" b="1" dirty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/>
        </p:nvGraphicFramePr>
        <p:xfrm>
          <a:off x="1142976" y="428604"/>
          <a:ext cx="7500990" cy="701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50495"/>
                <a:gridCol w="3750495"/>
              </a:tblGrid>
              <a:tr h="64294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Министерство среднего машиностроения СССР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Государственная Корпорация «Росатом»</a:t>
                      </a: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14" name="Стрелка вправо 13"/>
          <p:cNvSpPr/>
          <p:nvPr/>
        </p:nvSpPr>
        <p:spPr>
          <a:xfrm>
            <a:off x="4429124" y="642918"/>
            <a:ext cx="571504" cy="357190"/>
          </a:xfrm>
          <a:prstGeom prst="rightArrow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/>
        </p:nvGraphicFramePr>
        <p:xfrm>
          <a:off x="1142976" y="1341112"/>
          <a:ext cx="7572428" cy="944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57652"/>
                <a:gridCol w="3714776"/>
              </a:tblGrid>
              <a:tr h="64294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Структура и функции служб НОТП и У 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/>
                      </a:r>
                      <a:b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</a:b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в отрасли(труда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,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 производства и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/>
                      </a:r>
                      <a:b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</a:b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управления)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.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/>
                      </a:r>
                      <a:b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</a:b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(1972 г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.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)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Структура и функции подразделений Производственной системы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“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Росатом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”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/>
                      </a:r>
                      <a:b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</a:b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(2011 г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.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)</a:t>
                      </a: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17" name="Стрелка вправо 16"/>
          <p:cNvSpPr/>
          <p:nvPr/>
        </p:nvSpPr>
        <p:spPr>
          <a:xfrm>
            <a:off x="4429124" y="1571612"/>
            <a:ext cx="571504" cy="357190"/>
          </a:xfrm>
          <a:prstGeom prst="rightArrow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8" name="Прямая со стрелкой 17"/>
          <p:cNvCxnSpPr/>
          <p:nvPr/>
        </p:nvCxnSpPr>
        <p:spPr>
          <a:xfrm rot="5400000">
            <a:off x="7036611" y="3036091"/>
            <a:ext cx="357190" cy="1588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 rot="5400000">
            <a:off x="2393935" y="3035297"/>
            <a:ext cx="357190" cy="1588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2571736" y="2857496"/>
            <a:ext cx="4643470" cy="1588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6" name="Номер слайда 3"/>
          <p:cNvSpPr txBox="1">
            <a:spLocks/>
          </p:cNvSpPr>
          <p:nvPr/>
        </p:nvSpPr>
        <p:spPr>
          <a:xfrm>
            <a:off x="0" y="6381750"/>
            <a:ext cx="457200" cy="476250"/>
          </a:xfrm>
          <a:prstGeom prst="rect">
            <a:avLst/>
          </a:prstGeom>
        </p:spPr>
        <p:txBody>
          <a:bodyPr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15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1000100" y="0"/>
          <a:ext cx="8143900" cy="6857999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5072098"/>
                <a:gridCol w="3071802"/>
              </a:tblGrid>
              <a:tr h="477688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Times New Roman" pitchFamily="18" charset="0"/>
                          <a:cs typeface="Times New Roman" pitchFamily="18" charset="0"/>
                        </a:rPr>
                        <a:t>НОТП и У </a:t>
                      </a:r>
                      <a:r>
                        <a:rPr lang="ru-RU" sz="200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Минсредмаша</a:t>
                      </a:r>
                      <a:endParaRPr lang="ru-RU" sz="2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Times New Roman" pitchFamily="18" charset="0"/>
                          <a:cs typeface="Times New Roman" pitchFamily="18" charset="0"/>
                        </a:rPr>
                        <a:t>ПС</a:t>
                      </a:r>
                      <a:r>
                        <a:rPr lang="ru-RU" sz="2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ГК </a:t>
                      </a:r>
                      <a:r>
                        <a:rPr lang="en-US" sz="2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“</a:t>
                      </a:r>
                      <a:r>
                        <a:rPr lang="ru-RU" sz="2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Росатом</a:t>
                      </a:r>
                      <a:r>
                        <a:rPr lang="en-US" sz="2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”</a:t>
                      </a:r>
                      <a:endParaRPr lang="ru-RU" sz="2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813627">
                <a:tc>
                  <a:txBody>
                    <a:bodyPr/>
                    <a:lstStyle/>
                    <a:p>
                      <a:r>
                        <a:rPr lang="ru-RU" sz="1700" dirty="0" smtClean="0"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lang="en-US" sz="1700" dirty="0" smtClean="0"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lang="ru-RU" sz="1700" u="sng" dirty="0" smtClean="0">
                          <a:latin typeface="Times New Roman" pitchFamily="18" charset="0"/>
                          <a:cs typeface="Times New Roman" pitchFamily="18" charset="0"/>
                        </a:rPr>
                        <a:t>Отраслевой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научно-исследовательский отдел организации и механизации инженерного и управленческого труда (ОНОУ) – располагается на </a:t>
                      </a:r>
                      <a:r>
                        <a:rPr lang="ru-RU" sz="1700" u="sng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Базовой организации 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П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я Г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-4665,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одчиняется Директору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lang="ru-RU" sz="1700" baseline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Оперативные вопросы – с заместителем Гл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инженера по новой технике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НОТ и АСУП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lang="ru-RU" sz="1700" baseline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Цель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: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Контроль работы по НОТ в отрасли + выдача конкретных рекомендаций + общение и распространение опыта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lang="ru-RU" sz="1700" baseline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Состав – 3 лаборатории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:</a:t>
                      </a:r>
                      <a:endParaRPr lang="ru-RU" sz="1700" baseline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342900" indent="-342900">
                        <a:buAutoNum type="arabicPeriod"/>
                      </a:pP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Лаборатория </a:t>
                      </a:r>
                      <a:r>
                        <a:rPr lang="ru-RU" sz="1700" u="sng" baseline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НОУправления</a:t>
                      </a:r>
                      <a:endParaRPr lang="ru-RU" sz="1700" u="sng" baseline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342900" indent="-342900">
                        <a:buAutoNum type="arabicPeriod"/>
                      </a:pP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Лаборатория </a:t>
                      </a:r>
                      <a:r>
                        <a:rPr lang="ru-RU" sz="1700" u="sng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организации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и </a:t>
                      </a:r>
                      <a:r>
                        <a:rPr lang="ru-RU" sz="1700" u="sng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механизации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инженерного и управленческого труда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Лаборатория совершенствования методов планирования и нормативов</a:t>
                      </a:r>
                      <a:endParaRPr lang="ru-RU" sz="17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566684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4. </a:t>
                      </a:r>
                      <a:r>
                        <a:rPr kumimoji="0" lang="ru-RU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На предприятиях ГУ Ген</a:t>
                      </a:r>
                      <a:r>
                        <a:rPr kumimoji="0" lang="en-US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.</a:t>
                      </a:r>
                      <a:r>
                        <a:rPr kumimoji="0" lang="ru-RU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 директор возглавляет</a:t>
                      </a:r>
                      <a:endParaRPr kumimoji="0" lang="en-US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совещательный орган</a:t>
                      </a:r>
                      <a:r>
                        <a:rPr kumimoji="0" lang="en-US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.</a:t>
                      </a:r>
                      <a:r>
                        <a:rPr kumimoji="0" lang="ru-RU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 Совет НОТ</a:t>
                      </a:r>
                      <a:r>
                        <a:rPr kumimoji="0" lang="en-US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,</a:t>
                      </a:r>
                      <a:r>
                        <a:rPr kumimoji="0" lang="ru-RU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 который</a:t>
                      </a:r>
                      <a:endParaRPr kumimoji="0" lang="en-US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осуществляет общее руководство работой и</a:t>
                      </a:r>
                      <a:endParaRPr kumimoji="0" lang="en-US" sz="1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</a:endParaRP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основные</a:t>
                      </a:r>
                      <a:r>
                        <a:rPr kumimoji="0" lang="en-US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 </a:t>
                      </a:r>
                      <a:r>
                        <a:rPr kumimoji="0" lang="ru-RU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направления НОТ</a:t>
                      </a:r>
                      <a:r>
                        <a:rPr kumimoji="0" lang="en-US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. 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7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</a:rPr>
                        <a:t>Совещание 1-2 раза в квартал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Номер слайда 3"/>
          <p:cNvSpPr txBox="1">
            <a:spLocks/>
          </p:cNvSpPr>
          <p:nvPr/>
        </p:nvSpPr>
        <p:spPr>
          <a:xfrm>
            <a:off x="0" y="6381750"/>
            <a:ext cx="457200" cy="476250"/>
          </a:xfrm>
          <a:prstGeom prst="rect">
            <a:avLst/>
          </a:prstGeom>
        </p:spPr>
        <p:txBody>
          <a:bodyPr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16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1000100" y="1"/>
          <a:ext cx="8143900" cy="6857999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5286412"/>
                <a:gridCol w="2857488"/>
              </a:tblGrid>
              <a:tr h="434850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Times New Roman" pitchFamily="18" charset="0"/>
                          <a:cs typeface="Times New Roman" pitchFamily="18" charset="0"/>
                        </a:rPr>
                        <a:t>НОТП и У </a:t>
                      </a:r>
                      <a:r>
                        <a:rPr lang="ru-RU" sz="200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Минсредмаша</a:t>
                      </a:r>
                      <a:endParaRPr lang="ru-RU" sz="2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Times New Roman" pitchFamily="18" charset="0"/>
                          <a:cs typeface="Times New Roman" pitchFamily="18" charset="0"/>
                        </a:rPr>
                        <a:t>ПС</a:t>
                      </a:r>
                      <a:r>
                        <a:rPr lang="ru-RU" sz="2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ГК </a:t>
                      </a:r>
                      <a:r>
                        <a:rPr lang="en-US" sz="2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“</a:t>
                      </a:r>
                      <a:r>
                        <a:rPr lang="ru-RU" sz="2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Росатом</a:t>
                      </a:r>
                      <a:r>
                        <a:rPr lang="en-US" sz="2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”</a:t>
                      </a:r>
                      <a:endParaRPr lang="ru-RU" sz="2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31544">
                <a:tc>
                  <a:txBody>
                    <a:bodyPr/>
                    <a:lstStyle/>
                    <a:p>
                      <a:r>
                        <a:rPr lang="en-US" sz="1700" dirty="0" smtClean="0">
                          <a:latin typeface="Times New Roman" pitchFamily="18" charset="0"/>
                          <a:cs typeface="Times New Roman" pitchFamily="18" charset="0"/>
                        </a:rPr>
                        <a:t>5.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тдел или лаборатория НОТП и У на каждом предприятии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одчиняем Главному инженеру предприятия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/>
                      </a:r>
                      <a:b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lang="ru-RU" sz="1700" dirty="0" smtClean="0">
                          <a:latin typeface="Times New Roman" pitchFamily="18" charset="0"/>
                          <a:cs typeface="Times New Roman" pitchFamily="18" charset="0"/>
                        </a:rPr>
                        <a:t>Структура отдела</a:t>
                      </a:r>
                      <a:r>
                        <a:rPr lang="en-US" sz="1700" dirty="0" smtClean="0">
                          <a:latin typeface="Times New Roman" pitchFamily="18" charset="0"/>
                          <a:cs typeface="Times New Roman" pitchFamily="18" charset="0"/>
                        </a:rPr>
                        <a:t>:</a:t>
                      </a:r>
                      <a:endParaRPr lang="ru-RU" sz="17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>
                        <a:buFontTx/>
                        <a:buChar char="-"/>
                      </a:pPr>
                      <a:r>
                        <a:rPr lang="ru-RU" sz="1700" dirty="0" smtClean="0">
                          <a:latin typeface="Times New Roman" pitchFamily="18" charset="0"/>
                          <a:cs typeface="Times New Roman" pitchFamily="18" charset="0"/>
                        </a:rPr>
                        <a:t>Совершенствование </a:t>
                      </a:r>
                      <a:r>
                        <a:rPr lang="ru-RU" sz="1700" u="sng" dirty="0" smtClean="0">
                          <a:latin typeface="Times New Roman" pitchFamily="18" charset="0"/>
                          <a:cs typeface="Times New Roman" pitchFamily="18" charset="0"/>
                        </a:rPr>
                        <a:t>организации труда рабочих</a:t>
                      </a:r>
                      <a:r>
                        <a:rPr lang="en-US" sz="170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700" dirty="0" smtClean="0">
                          <a:latin typeface="Times New Roman" pitchFamily="18" charset="0"/>
                          <a:cs typeface="Times New Roman" pitchFamily="18" charset="0"/>
                        </a:rPr>
                        <a:t> ИТР и служащих</a:t>
                      </a:r>
                    </a:p>
                    <a:p>
                      <a:pPr>
                        <a:buFontTx/>
                        <a:buChar char="-"/>
                      </a:pPr>
                      <a:r>
                        <a:rPr lang="ru-RU" sz="1700" dirty="0" smtClean="0">
                          <a:latin typeface="Times New Roman" pitchFamily="18" charset="0"/>
                          <a:cs typeface="Times New Roman" pitchFamily="18" charset="0"/>
                        </a:rPr>
                        <a:t>Совершенствование </a:t>
                      </a:r>
                      <a:r>
                        <a:rPr lang="ru-RU" sz="1700" u="sng" dirty="0" smtClean="0">
                          <a:latin typeface="Times New Roman" pitchFamily="18" charset="0"/>
                          <a:cs typeface="Times New Roman" pitchFamily="18" charset="0"/>
                        </a:rPr>
                        <a:t>организации производства</a:t>
                      </a:r>
                    </a:p>
                    <a:p>
                      <a:pPr>
                        <a:buFontTx/>
                        <a:buChar char="-"/>
                      </a:pPr>
                      <a:r>
                        <a:rPr lang="ru-RU" sz="1700" dirty="0" smtClean="0">
                          <a:latin typeface="Times New Roman" pitchFamily="18" charset="0"/>
                          <a:cs typeface="Times New Roman" pitchFamily="18" charset="0"/>
                        </a:rPr>
                        <a:t>Совершенствование </a:t>
                      </a:r>
                      <a:r>
                        <a:rPr lang="ru-RU" sz="1700" u="sng" dirty="0" smtClean="0">
                          <a:latin typeface="Times New Roman" pitchFamily="18" charset="0"/>
                          <a:cs typeface="Times New Roman" pitchFamily="18" charset="0"/>
                        </a:rPr>
                        <a:t>организации управления</a:t>
                      </a:r>
                    </a:p>
                    <a:p>
                      <a:r>
                        <a:rPr lang="ru-RU" sz="1700" dirty="0" smtClean="0">
                          <a:latin typeface="Times New Roman" pitchFamily="18" charset="0"/>
                          <a:cs typeface="Times New Roman" pitchFamily="18" charset="0"/>
                        </a:rPr>
                        <a:t>Рекомендуемая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численность службы НОТП и У на предприятии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:</a:t>
                      </a:r>
                      <a:endParaRPr lang="ru-RU" sz="1700" baseline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- до 600 чел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– инженер-организатор по НОТ – 1-2 чел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lang="ru-RU" sz="1700" baseline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- 600-2000 чел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– группа НОТП и У – 3-7 чел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lang="ru-RU" sz="1700" baseline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>
                        <a:buFontTx/>
                        <a:buChar char="-"/>
                      </a:pPr>
                      <a:r>
                        <a:rPr lang="ru-RU" sz="1700" dirty="0" smtClean="0">
                          <a:latin typeface="Times New Roman" pitchFamily="18" charset="0"/>
                          <a:cs typeface="Times New Roman" pitchFamily="18" charset="0"/>
                        </a:rPr>
                        <a:t>2000-6000 – Лаборатория НОТП и У – 8-15 чел</a:t>
                      </a:r>
                      <a:r>
                        <a:rPr lang="en-US" sz="170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lang="ru-RU" sz="17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>
                        <a:buFontTx/>
                        <a:buChar char="-"/>
                      </a:pPr>
                      <a:r>
                        <a:rPr lang="ru-RU" sz="1700" dirty="0" smtClean="0">
                          <a:latin typeface="Times New Roman" pitchFamily="18" charset="0"/>
                          <a:cs typeface="Times New Roman" pitchFamily="18" charset="0"/>
                        </a:rPr>
                        <a:t>6000 и более – Отдел НОТП и У – 16 и боле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2691605">
                <a:tc>
                  <a:txBody>
                    <a:bodyPr/>
                    <a:lstStyle/>
                    <a:p>
                      <a:r>
                        <a:rPr lang="en-US" sz="1700" dirty="0" smtClean="0">
                          <a:latin typeface="Times New Roman" pitchFamily="18" charset="0"/>
                          <a:cs typeface="Times New Roman" pitchFamily="18" charset="0"/>
                        </a:rPr>
                        <a:t>6. </a:t>
                      </a:r>
                      <a:r>
                        <a:rPr lang="ru-RU" sz="1700" dirty="0" smtClean="0">
                          <a:latin typeface="Times New Roman" pitchFamily="18" charset="0"/>
                          <a:cs typeface="Times New Roman" pitchFamily="18" charset="0"/>
                        </a:rPr>
                        <a:t>Организация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бмена опытом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:</a:t>
                      </a:r>
                      <a:endParaRPr lang="ru-RU" sz="1700" baseline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>
                        <a:buFontTx/>
                        <a:buChar char="-"/>
                      </a:pP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Бюллетень технической информации (БТИ)</a:t>
                      </a:r>
                    </a:p>
                    <a:p>
                      <a:pPr>
                        <a:buFontTx/>
                        <a:buNone/>
                      </a:pP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по мере накопления материала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но не менее 1 раза в 2 года</a:t>
                      </a:r>
                    </a:p>
                    <a:p>
                      <a:pPr>
                        <a:buFontTx/>
                        <a:buNone/>
                      </a:pP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-Проспекты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рефераты</a:t>
                      </a:r>
                      <a:r>
                        <a:rPr lang="en-US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акты внедрения по апробированным разработкам ОНОУ – регулярная рассылка в виде циркуляра</a:t>
                      </a:r>
                    </a:p>
                    <a:p>
                      <a:pPr>
                        <a:buFontTx/>
                        <a:buChar char="-"/>
                      </a:pPr>
                      <a:r>
                        <a:rPr lang="ru-RU" sz="1700" dirty="0" smtClean="0">
                          <a:latin typeface="Times New Roman" pitchFamily="18" charset="0"/>
                          <a:cs typeface="Times New Roman" pitchFamily="18" charset="0"/>
                        </a:rPr>
                        <a:t>Организация</a:t>
                      </a: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выставок по НОТ</a:t>
                      </a:r>
                    </a:p>
                    <a:p>
                      <a:pPr>
                        <a:buFontTx/>
                        <a:buChar char="-"/>
                      </a:pPr>
                      <a:r>
                        <a:rPr lang="ru-RU" sz="17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Организация отраслевых совещаний по вопросам НОТ ( не реже 1 раза в 3 года)</a:t>
                      </a:r>
                      <a:endParaRPr lang="ru-RU" sz="1700" u="sng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Номер слайда 3"/>
          <p:cNvSpPr txBox="1">
            <a:spLocks/>
          </p:cNvSpPr>
          <p:nvPr/>
        </p:nvSpPr>
        <p:spPr>
          <a:xfrm>
            <a:off x="0" y="6381750"/>
            <a:ext cx="457200" cy="476250"/>
          </a:xfrm>
          <a:prstGeom prst="rect">
            <a:avLst/>
          </a:prstGeom>
        </p:spPr>
        <p:txBody>
          <a:bodyPr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17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1000100" y="2"/>
          <a:ext cx="8143900" cy="6858121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5357850"/>
                <a:gridCol w="2786050"/>
              </a:tblGrid>
              <a:tr h="473563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Times New Roman" pitchFamily="18" charset="0"/>
                          <a:cs typeface="Times New Roman" pitchFamily="18" charset="0"/>
                        </a:rPr>
                        <a:t>НОТП и У </a:t>
                      </a:r>
                      <a:r>
                        <a:rPr lang="ru-RU" sz="200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Минсредмаша</a:t>
                      </a:r>
                      <a:endParaRPr lang="ru-RU" sz="2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Times New Roman" pitchFamily="18" charset="0"/>
                          <a:cs typeface="Times New Roman" pitchFamily="18" charset="0"/>
                        </a:rPr>
                        <a:t>ПС</a:t>
                      </a:r>
                      <a:r>
                        <a:rPr lang="ru-RU" sz="2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ГК </a:t>
                      </a:r>
                      <a:r>
                        <a:rPr lang="en-US" sz="2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“</a:t>
                      </a:r>
                      <a:r>
                        <a:rPr lang="ru-RU" sz="2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Росатом</a:t>
                      </a:r>
                      <a:r>
                        <a:rPr lang="en-US" sz="2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”</a:t>
                      </a:r>
                      <a:endParaRPr lang="ru-RU" sz="2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917079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7</a:t>
                      </a:r>
                      <a:r>
                        <a:rPr lang="en-US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 Творческие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бригады по НОТ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:</a:t>
                      </a:r>
                      <a:endParaRPr lang="ru-RU" sz="1800" baseline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Комплексные или специализированные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lang="ru-RU" sz="1800" baseline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Могут освобождаться от основной работы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467479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r>
                        <a:rPr lang="en-US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риказом Директора по предоставлению </a:t>
                      </a:r>
                      <a:r>
                        <a:rPr lang="ru-RU" sz="1800" baseline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нач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службы </a:t>
                      </a:r>
                      <a:r>
                        <a:rPr lang="ru-RU" sz="1800" baseline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НОТПиУ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назначаются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:</a:t>
                      </a:r>
                      <a:endParaRPr lang="ru-RU" sz="1800" baseline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>
                        <a:buFontTx/>
                        <a:buChar char="-"/>
                      </a:pP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800" u="sng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Инженер по промышленной эстетик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е</a:t>
                      </a:r>
                      <a:b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(цветовая отделка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краска цехов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омещений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борудования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раб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.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места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наглядная агитация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лакаты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мебель)</a:t>
                      </a:r>
                    </a:p>
                    <a:p>
                      <a:pPr>
                        <a:buFontTx/>
                        <a:buChar char="-"/>
                      </a:pPr>
                      <a:r>
                        <a:rPr lang="ru-RU" sz="1800" u="sng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Физиолог по труду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(оценка тяжести труда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озы работающего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режима труда и отдыха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шума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вибрации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свещенности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запыленности воздуха)</a:t>
                      </a:r>
                    </a:p>
                    <a:p>
                      <a:pPr>
                        <a:buFontTx/>
                        <a:buChar char="-"/>
                      </a:pP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800" u="sng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Психолог по труду 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(улучшения взаимодействий между членами трудового коллектива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одбор и расстановка людей в производственном процессе в соответствии с их способностями и психологическими характеристиками)</a:t>
                      </a:r>
                    </a:p>
                    <a:p>
                      <a:pPr>
                        <a:buFontTx/>
                        <a:buChar char="-"/>
                      </a:pP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800" u="sng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Социолог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(устранение однообразия и монотонности труда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расширение совмещения профессий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чередование умственного и физического труда</a:t>
                      </a:r>
                      <a:r>
                        <a:rPr lang="en-US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lang="ru-RU" sz="18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овышение его содержательности!)</a:t>
                      </a: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Номер слайда 3"/>
          <p:cNvSpPr txBox="1">
            <a:spLocks/>
          </p:cNvSpPr>
          <p:nvPr/>
        </p:nvSpPr>
        <p:spPr>
          <a:xfrm>
            <a:off x="0" y="6381750"/>
            <a:ext cx="457200" cy="476250"/>
          </a:xfrm>
          <a:prstGeom prst="rect">
            <a:avLst/>
          </a:prstGeom>
        </p:spPr>
        <p:txBody>
          <a:bodyPr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18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066" name="Picture 2" descr="Картинка 2 из 1720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73239" y="4286256"/>
            <a:ext cx="1670793" cy="226216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7044" name="Picture 4" descr="http://www.tvernews.ru/img/news/16354/1145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15140" y="1214422"/>
            <a:ext cx="2428860" cy="147249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7042" name="Picture 2" descr="Картинка 2 из 9600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2910" y="1142984"/>
            <a:ext cx="1232092" cy="157163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Овал 3"/>
          <p:cNvSpPr/>
          <p:nvPr/>
        </p:nvSpPr>
        <p:spPr>
          <a:xfrm>
            <a:off x="2786050" y="2124661"/>
            <a:ext cx="3857652" cy="3357586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Овал 4"/>
          <p:cNvSpPr/>
          <p:nvPr/>
        </p:nvSpPr>
        <p:spPr>
          <a:xfrm>
            <a:off x="3500430" y="2767603"/>
            <a:ext cx="2428892" cy="2071702"/>
          </a:xfrm>
          <a:prstGeom prst="ellips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857232"/>
          </a:xfrm>
        </p:spPr>
        <p:txBody>
          <a:bodyPr anchor="ctr" anchorCtr="0">
            <a:noAutofit/>
          </a:bodyPr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Зачем нужна ПС «Росатом» возврат</a:t>
            </a:r>
            <a:r>
              <a:rPr lang="en-US" sz="20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к традициям и преодоление нерыночных отраслевых тенденций</a:t>
            </a:r>
            <a:r>
              <a:rPr lang="en-US" sz="20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:</a:t>
            </a:r>
            <a:r>
              <a:rPr lang="ru-RU" sz="20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себестоимость + производительность труда (КПЭ5)</a:t>
            </a:r>
            <a:endParaRPr lang="ru-RU" sz="20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" name="Прямая соединительная линия 6"/>
          <p:cNvCxnSpPr>
            <a:endCxn id="48" idx="7"/>
          </p:cNvCxnSpPr>
          <p:nvPr/>
        </p:nvCxnSpPr>
        <p:spPr>
          <a:xfrm rot="10800000" flipV="1">
            <a:off x="3622382" y="2928934"/>
            <a:ext cx="1092494" cy="520990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rot="5400000">
            <a:off x="2679817" y="3822833"/>
            <a:ext cx="4068000" cy="2117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>
            <a:endCxn id="44" idx="1"/>
          </p:cNvCxnSpPr>
          <p:nvPr/>
        </p:nvCxnSpPr>
        <p:spPr>
          <a:xfrm>
            <a:off x="4714876" y="2928935"/>
            <a:ext cx="1378246" cy="520989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0" name="Заголовок 1"/>
          <p:cNvSpPr txBox="1">
            <a:spLocks/>
          </p:cNvSpPr>
          <p:nvPr/>
        </p:nvSpPr>
        <p:spPr>
          <a:xfrm>
            <a:off x="7143768" y="2571744"/>
            <a:ext cx="1857356" cy="321471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l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Безопасность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428596" y="2643182"/>
            <a:ext cx="1809763" cy="321471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l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Качество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7500958" y="3071810"/>
            <a:ext cx="1643074" cy="500066"/>
          </a:xfrm>
          <a:prstGeom prst="rect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l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Сегодняшние</a:t>
            </a:r>
            <a:r>
              <a:rPr kumimoji="0" lang="ru-RU" b="1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br>
              <a:rPr kumimoji="0" lang="ru-RU" b="1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r>
              <a:rPr kumimoji="0" lang="ru-RU" b="1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требования</a:t>
            </a:r>
            <a:endParaRPr kumimoji="0" lang="ru-RU" b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7500958" y="3723682"/>
            <a:ext cx="1643074" cy="562574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l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Завтрашние требования</a:t>
            </a:r>
            <a:endParaRPr kumimoji="0" lang="ru-RU" sz="2000" b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15" name="Заголовок 1"/>
          <p:cNvSpPr txBox="1">
            <a:spLocks/>
          </p:cNvSpPr>
          <p:nvPr/>
        </p:nvSpPr>
        <p:spPr>
          <a:xfrm>
            <a:off x="0" y="5286388"/>
            <a:ext cx="3714744" cy="11430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“</a:t>
            </a:r>
            <a:r>
              <a:rPr kumimoji="0" lang="ru-RU" sz="16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Денег много </a:t>
            </a:r>
            <a:r>
              <a:rPr kumimoji="0" lang="ru-RU" sz="1600" b="1" i="1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д</a:t>
            </a:r>
            <a:r>
              <a:rPr lang="ru-RU" sz="1600" b="1" i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авали – резон есть</a:t>
            </a:r>
            <a:r>
              <a:rPr lang="en-US" sz="1600" b="1" i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.</a:t>
            </a:r>
            <a:r>
              <a:rPr lang="ru-RU" sz="1600" b="1" i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lang="ru-RU" sz="1600" b="1" i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</a:br>
            <a:r>
              <a:rPr lang="ru-RU" sz="1600" b="1" i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Со мной в Минфине и Госплане короче всех разговаривали</a:t>
            </a:r>
            <a:r>
              <a:rPr lang="en-US" sz="1600" b="1" i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:</a:t>
            </a:r>
            <a:r>
              <a:rPr lang="ru-RU" sz="1600" b="1" i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 Надо денег – возьми</a:t>
            </a:r>
            <a:r>
              <a:rPr lang="en-US" sz="1600" b="1" i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”</a:t>
            </a:r>
            <a:br>
              <a:rPr lang="en-US" sz="1600" b="1" i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</a:br>
            <a:r>
              <a:rPr lang="ru-RU" sz="1600" b="1" i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Е</a:t>
            </a:r>
            <a:r>
              <a:rPr lang="en-US" sz="1600" b="1" i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.</a:t>
            </a:r>
            <a:r>
              <a:rPr lang="ru-RU" sz="1600" b="1" i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П</a:t>
            </a:r>
            <a:r>
              <a:rPr lang="en-US" sz="1600" b="1" i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.</a:t>
            </a:r>
            <a:r>
              <a:rPr lang="ru-RU" sz="1600" b="1" i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 </a:t>
            </a:r>
            <a:r>
              <a:rPr lang="ru-RU" sz="1600" b="1" i="1" dirty="0" err="1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Славский</a:t>
            </a:r>
            <a:endParaRPr kumimoji="0" lang="ru-RU" sz="16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cxnSp>
        <p:nvCxnSpPr>
          <p:cNvPr id="17" name="Прямая соединительная линия 16"/>
          <p:cNvCxnSpPr>
            <a:endCxn id="44" idx="3"/>
          </p:cNvCxnSpPr>
          <p:nvPr/>
        </p:nvCxnSpPr>
        <p:spPr>
          <a:xfrm flipV="1">
            <a:off x="4714876" y="3550952"/>
            <a:ext cx="1378246" cy="735304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>
            <a:stCxn id="48" idx="4"/>
            <a:endCxn id="50" idx="1"/>
          </p:cNvCxnSpPr>
          <p:nvPr/>
        </p:nvCxnSpPr>
        <p:spPr>
          <a:xfrm rot="16200000" flipH="1">
            <a:off x="3786182" y="3357562"/>
            <a:ext cx="663866" cy="1092494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>
            <a:stCxn id="12" idx="1"/>
            <a:endCxn id="5" idx="6"/>
          </p:cNvCxnSpPr>
          <p:nvPr/>
        </p:nvCxnSpPr>
        <p:spPr>
          <a:xfrm rot="10800000" flipV="1">
            <a:off x="5929322" y="3321842"/>
            <a:ext cx="1571636" cy="481611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79874" name="Picture 2" descr="Картинка 1 из 130"/>
          <p:cNvPicPr>
            <a:picLocks noChangeAspect="1" noChangeArrowheads="1"/>
          </p:cNvPicPr>
          <p:nvPr/>
        </p:nvPicPr>
        <p:blipFill>
          <a:blip r:embed="rId5" cstate="print"/>
          <a:srcRect r="3789" b="14286"/>
          <a:stretch>
            <a:fillRect/>
          </a:stretch>
        </p:blipFill>
        <p:spPr bwMode="auto">
          <a:xfrm>
            <a:off x="0" y="3071810"/>
            <a:ext cx="1857388" cy="23639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4" name="Овал 43"/>
          <p:cNvSpPr/>
          <p:nvPr/>
        </p:nvSpPr>
        <p:spPr>
          <a:xfrm>
            <a:off x="6072198" y="3429000"/>
            <a:ext cx="142876" cy="142876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0" name="Овал 49"/>
          <p:cNvSpPr/>
          <p:nvPr/>
        </p:nvSpPr>
        <p:spPr>
          <a:xfrm>
            <a:off x="4643438" y="4214818"/>
            <a:ext cx="142876" cy="142876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6" name="Овал 55"/>
          <p:cNvSpPr/>
          <p:nvPr/>
        </p:nvSpPr>
        <p:spPr>
          <a:xfrm>
            <a:off x="4643438" y="2857496"/>
            <a:ext cx="142876" cy="142876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61" name="Прямая со стрелкой 60"/>
          <p:cNvCxnSpPr>
            <a:stCxn id="13" idx="1"/>
          </p:cNvCxnSpPr>
          <p:nvPr/>
        </p:nvCxnSpPr>
        <p:spPr>
          <a:xfrm rot="10800000" flipV="1">
            <a:off x="6643702" y="4004968"/>
            <a:ext cx="857256" cy="66973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>
            <a:stCxn id="44" idx="7"/>
            <a:endCxn id="10" idx="2"/>
          </p:cNvCxnSpPr>
          <p:nvPr/>
        </p:nvCxnSpPr>
        <p:spPr>
          <a:xfrm rot="5400000" flipH="1" flipV="1">
            <a:off x="6854944" y="2232422"/>
            <a:ext cx="556709" cy="1878296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>
            <a:stCxn id="11" idx="2"/>
          </p:cNvCxnSpPr>
          <p:nvPr/>
        </p:nvCxnSpPr>
        <p:spPr>
          <a:xfrm rot="16200000" flipH="1">
            <a:off x="2184782" y="2113349"/>
            <a:ext cx="535785" cy="2238392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6" name="Заголовок 1"/>
          <p:cNvSpPr txBox="1">
            <a:spLocks/>
          </p:cNvSpPr>
          <p:nvPr/>
        </p:nvSpPr>
        <p:spPr>
          <a:xfrm>
            <a:off x="2428860" y="857232"/>
            <a:ext cx="4286280" cy="428628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l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u="sng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ГК «Росатом»</a:t>
            </a:r>
            <a:endParaRPr kumimoji="0" lang="ru-RU" sz="2800" b="1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77" name="Заголовок 1"/>
          <p:cNvSpPr txBox="1">
            <a:spLocks/>
          </p:cNvSpPr>
          <p:nvPr/>
        </p:nvSpPr>
        <p:spPr>
          <a:xfrm>
            <a:off x="3357554" y="1785926"/>
            <a:ext cx="2643206" cy="428628"/>
          </a:xfrm>
          <a:prstGeom prst="rect">
            <a:avLst/>
          </a:prstGeom>
          <a:solidFill>
            <a:schemeClr val="bg1"/>
          </a:solidFill>
          <a:ln w="3175">
            <a:solidFill>
              <a:srgbClr val="00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l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(Производительность труда – энтузиазм – утеряны навыки)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57" name="Заголовок 1"/>
          <p:cNvSpPr txBox="1">
            <a:spLocks/>
          </p:cNvSpPr>
          <p:nvPr/>
        </p:nvSpPr>
        <p:spPr>
          <a:xfrm>
            <a:off x="3714744" y="1464455"/>
            <a:ext cx="1857356" cy="321471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l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Сроки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48" name="Овал 47"/>
          <p:cNvSpPr/>
          <p:nvPr/>
        </p:nvSpPr>
        <p:spPr>
          <a:xfrm>
            <a:off x="3500430" y="3429000"/>
            <a:ext cx="142876" cy="142876"/>
          </a:xfrm>
          <a:prstGeom prst="ellipse">
            <a:avLst/>
          </a:prstGeom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5500694" y="1285860"/>
            <a:ext cx="64294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!</a:t>
            </a:r>
            <a:endParaRPr lang="ru-RU" sz="36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" name="Заголовок 1"/>
          <p:cNvSpPr txBox="1">
            <a:spLocks/>
          </p:cNvSpPr>
          <p:nvPr/>
        </p:nvSpPr>
        <p:spPr>
          <a:xfrm>
            <a:off x="3143240" y="6215082"/>
            <a:ext cx="3357586" cy="428628"/>
          </a:xfrm>
          <a:prstGeom prst="rect">
            <a:avLst/>
          </a:prstGeom>
          <a:solidFill>
            <a:schemeClr val="bg1"/>
          </a:solidFill>
          <a:ln w="3175">
            <a:solidFill>
              <a:srgbClr val="00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lIns="0" rIns="0" bIns="0" anchor="ctr" anchorCtr="0">
            <a:noAutofit/>
          </a:bodyPr>
          <a:lstStyle/>
          <a:p>
            <a:pPr lvl="0" algn="ctr" fontAlgn="auto"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самое большое отставание)</a:t>
            </a:r>
            <a:br>
              <a:rPr lang="ru-RU" sz="14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4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е было такого критерия успеха!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37" name="Заголовок 1"/>
          <p:cNvSpPr txBox="1">
            <a:spLocks/>
          </p:cNvSpPr>
          <p:nvPr/>
        </p:nvSpPr>
        <p:spPr>
          <a:xfrm>
            <a:off x="3857620" y="5857892"/>
            <a:ext cx="1857356" cy="321471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vert="horz" l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Себестоимость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5643570" y="5711627"/>
            <a:ext cx="64294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!</a:t>
            </a:r>
            <a:endParaRPr lang="ru-RU" sz="36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9" name="Заголовок 1"/>
          <p:cNvSpPr txBox="1">
            <a:spLocks/>
          </p:cNvSpPr>
          <p:nvPr/>
        </p:nvSpPr>
        <p:spPr>
          <a:xfrm>
            <a:off x="6786578" y="6119790"/>
            <a:ext cx="2357422" cy="571504"/>
          </a:xfrm>
          <a:prstGeom prst="rect">
            <a:avLst/>
          </a:prstGeom>
          <a:solidFill>
            <a:schemeClr val="bg1"/>
          </a:solidFill>
          <a:ln w="3175">
            <a:solidFill>
              <a:srgbClr val="00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l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100" b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1-й Я</a:t>
            </a:r>
            <a:r>
              <a:rPr lang="en-US" sz="1100" b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.</a:t>
            </a:r>
            <a:r>
              <a:rPr lang="ru-RU" sz="1100" b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Р</a:t>
            </a:r>
            <a:r>
              <a:rPr lang="en-US" sz="1100" b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.</a:t>
            </a:r>
            <a:r>
              <a:rPr lang="ru-RU" sz="1100" b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 (1946) – 1 бомба (1949) – 1-АЭС (1954) – 1 АПЛ (1958) – 1-й Атомный ледокол (1959) и т</a:t>
            </a:r>
            <a:r>
              <a:rPr lang="en-US" sz="1100" b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.</a:t>
            </a:r>
            <a:r>
              <a:rPr lang="ru-RU" sz="1100" b="1" dirty="0" err="1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д</a:t>
            </a:r>
            <a:r>
              <a:rPr lang="en-US" sz="1100" b="1" dirty="0" smtClean="0">
                <a:solidFill>
                  <a:srgbClr val="000000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.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43" name="Rectangle 181"/>
          <p:cNvSpPr>
            <a:spLocks noChangeArrowheads="1"/>
          </p:cNvSpPr>
          <p:nvPr/>
        </p:nvSpPr>
        <p:spPr bwMode="auto">
          <a:xfrm>
            <a:off x="8999535" y="6581025"/>
            <a:ext cx="14449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4400" tIns="0" rIns="14400" bIns="0">
            <a:spAutoFit/>
          </a:bodyPr>
          <a:lstStyle/>
          <a:p>
            <a:pPr algn="r" defTabSz="727075"/>
            <a:r>
              <a:rPr lang="ru-RU" altLang="ja-JP" dirty="0" smtClean="0">
                <a:solidFill>
                  <a:srgbClr val="000000"/>
                </a:solidFill>
                <a:latin typeface="Times New Roman" pitchFamily="18" charset="0"/>
                <a:ea typeface="Arial Unicode MS" pitchFamily="34" charset="-128"/>
                <a:cs typeface="Times New Roman" pitchFamily="18" charset="0"/>
              </a:rPr>
              <a:t>2</a:t>
            </a:r>
            <a:endParaRPr lang="en-US" altLang="ja-JP" dirty="0">
              <a:solidFill>
                <a:srgbClr val="000000"/>
              </a:solidFill>
              <a:latin typeface="Times New Roman" pitchFamily="18" charset="0"/>
              <a:ea typeface="Arial Unicode MS" pitchFamily="34" charset="-128"/>
              <a:cs typeface="Times New Roman" pitchFamily="18" charset="0"/>
            </a:endParaRPr>
          </a:p>
        </p:txBody>
      </p:sp>
      <p:sp>
        <p:nvSpPr>
          <p:cNvPr id="38" name="Номер слайда 3"/>
          <p:cNvSpPr txBox="1">
            <a:spLocks/>
          </p:cNvSpPr>
          <p:nvPr/>
        </p:nvSpPr>
        <p:spPr>
          <a:xfrm>
            <a:off x="0" y="6381750"/>
            <a:ext cx="457200" cy="476250"/>
          </a:xfrm>
          <a:prstGeom prst="rect">
            <a:avLst/>
          </a:prstGeom>
        </p:spPr>
        <p:txBody>
          <a:bodyPr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19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1643042" y="6357958"/>
            <a:ext cx="7500990" cy="500066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</a:rPr>
              <a:t>В целом по Министерству 1958-1967 (9лет) производительность труда (далее - ПТ) выросла в 3 раза (от 1,7 до 7,4 раза по разным Главным управлениям (далее - ГУ)).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000100" y="214290"/>
            <a:ext cx="8143900" cy="6286544"/>
          </a:xfrm>
        </p:spPr>
        <p:txBody>
          <a:bodyPr>
            <a:normAutofit/>
          </a:bodyPr>
          <a:lstStyle/>
          <a:p>
            <a:pPr algn="l"/>
            <a: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  <a:t>1945-образованно Первое ГУ при Совете Министров СССР (в 1953 году реорганизовано в</a:t>
            </a:r>
            <a:b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</a:br>
            <a: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 </a:t>
            </a:r>
            <a: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  <a:t>Министерство среднего машиностроения</a:t>
            </a:r>
            <a: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)</a:t>
            </a:r>
            <a:b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</a:br>
            <a: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/>
            </a:r>
            <a:b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</a:br>
            <a:r>
              <a:rPr lang="ru-RU" sz="1800" u="sng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1945-1950 </a:t>
            </a:r>
            <a:br>
              <a:rPr lang="ru-RU" sz="1800" u="sng" dirty="0" smtClean="0">
                <a:solidFill>
                  <a:schemeClr val="tx1"/>
                </a:solidFill>
                <a:effectLst/>
                <a:latin typeface="Times New Roman" pitchFamily="18" charset="0"/>
              </a:rPr>
            </a:br>
            <a: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Цель</a:t>
            </a:r>
            <a: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  <a:t>: обеспечить выпуск атомного оружия.  </a:t>
            </a:r>
            <a:b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</a:br>
            <a: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  <a:t>Задача: </a:t>
            </a:r>
            <a: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/>
            </a:r>
            <a:b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</a:br>
            <a: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- </a:t>
            </a:r>
            <a: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  <a:t>строительство новых промышленных предприятий (РОСТ) </a:t>
            </a:r>
            <a:b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</a:br>
            <a: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- </a:t>
            </a:r>
            <a: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  <a:t>проведение научно исследовательских работ (НАУКА).</a:t>
            </a:r>
            <a:b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</a:br>
            <a: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- </a:t>
            </a:r>
            <a: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  <a:t>организационная подготовка квалифицированных </a:t>
            </a:r>
            <a: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рабочих (ПОДГОТОВКА КАДРОВ).</a:t>
            </a:r>
            <a:b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</a:br>
            <a: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/>
            </a:r>
            <a:b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</a:br>
            <a: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  <a:t/>
            </a:r>
            <a:b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</a:br>
            <a:r>
              <a:rPr lang="ru-RU" sz="1800" u="sng" dirty="0">
                <a:solidFill>
                  <a:schemeClr val="tx1"/>
                </a:solidFill>
                <a:effectLst/>
                <a:latin typeface="Times New Roman" pitchFamily="18" charset="0"/>
              </a:rPr>
              <a:t>1953-1954</a:t>
            </a:r>
            <a: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  <a:t> </a:t>
            </a:r>
            <a: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 </a:t>
            </a:r>
            <a:b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</a:br>
            <a: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Продолжает совершенствоваться система </a:t>
            </a:r>
            <a: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  <a:t>ОТ: тарифные системы, разработка норм времени</a:t>
            </a:r>
            <a: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, расценок для </a:t>
            </a:r>
            <a: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  <a:t>всех операций и т.д.</a:t>
            </a:r>
            <a:b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</a:br>
            <a: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  <a:t>Начинает звучать тема: </a:t>
            </a:r>
            <a:r>
              <a:rPr lang="ru-RU" sz="1800" b="1" u="sng" dirty="0">
                <a:solidFill>
                  <a:schemeClr val="tx1"/>
                </a:solidFill>
                <a:effectLst/>
                <a:latin typeface="Times New Roman" pitchFamily="18" charset="0"/>
              </a:rPr>
              <a:t>РАЦИОНАЛЬНОЕ ИСПОЛЬЗОВАНИЕ РАБОЧИХ И ОБОРУДОВАНИЯ</a:t>
            </a:r>
            <a: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  <a:t>. </a:t>
            </a:r>
            <a:b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</a:br>
            <a: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/>
            </a:r>
            <a:b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</a:br>
            <a:r>
              <a:rPr lang="ru-RU" sz="1800" u="sng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1957г</a:t>
            </a:r>
            <a:r>
              <a:rPr lang="ru-RU" sz="1800" u="sng" dirty="0">
                <a:solidFill>
                  <a:schemeClr val="tx1"/>
                </a:solidFill>
                <a:effectLst/>
                <a:latin typeface="Times New Roman" pitchFamily="18" charset="0"/>
              </a:rPr>
              <a:t>.</a:t>
            </a:r>
            <a: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  <a:t> – </a:t>
            </a:r>
            <a: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на ряде </a:t>
            </a:r>
            <a: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  <a:t>предприятий организованны нормативно-исследовательские лаборатории (группы по улучшению организации труда</a:t>
            </a:r>
            <a: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).</a:t>
            </a:r>
            <a:endParaRPr lang="ru-RU" sz="1800" dirty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1000100" y="0"/>
            <a:ext cx="8143900" cy="500042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 smtClean="0"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Историческая справка</a:t>
            </a:r>
            <a:r>
              <a:rPr lang="en-US" sz="2400" b="1" dirty="0" smtClean="0">
                <a:effectLst>
                  <a:outerShdw blurRad="50000" dist="30000" dir="5400000" algn="tl" rotWithShape="0">
                    <a:srgbClr val="000000">
                      <a:alpha val="30000"/>
                    </a:srgbClr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: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>
                <a:outerShdw blurRad="50000" dist="30000" dir="5400000" algn="tl" rotWithShape="0">
                  <a:srgbClr val="000000">
                    <a:alpha val="30000"/>
                  </a:srgbClr>
                </a:outerShdw>
              </a:effectLst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285852" y="3857628"/>
            <a:ext cx="7215238" cy="2857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Видимо в этот период было не до НОТ!!?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85720" y="4857760"/>
            <a:ext cx="714380" cy="2857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О!</a:t>
            </a:r>
            <a:endParaRPr lang="ru-RU" sz="20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000100" y="1571612"/>
            <a:ext cx="1143008" cy="35719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571472" y="6357958"/>
            <a:ext cx="1143008" cy="35719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зультат</a:t>
            </a:r>
            <a:r>
              <a:rPr lang="en-US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00100" y="4000504"/>
            <a:ext cx="1143008" cy="35719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530" name="Picture 2" descr="Картинка 1 из 2477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95894" y="1281425"/>
            <a:ext cx="1848138" cy="179038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2532" name="Picture 4" descr="Картинка 10 из 2477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643570" y="714356"/>
            <a:ext cx="1785950" cy="17859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0" y="6381750"/>
            <a:ext cx="457200" cy="476250"/>
          </a:xfrm>
        </p:spPr>
        <p:txBody>
          <a:bodyPr/>
          <a:lstStyle/>
          <a:p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ru-RU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2143108" y="6429420"/>
            <a:ext cx="7000924" cy="428604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отраслевом </a:t>
            </a:r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целеполагании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должно быть больше жесткости и конкретности и в целях и в методах их достижения</a:t>
            </a:r>
            <a:r>
              <a:rPr lang="en-US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996950" y="0"/>
            <a:ext cx="8147050" cy="6429396"/>
          </a:xfrm>
        </p:spPr>
        <p:txBody>
          <a:bodyPr>
            <a:normAutofit/>
          </a:bodyPr>
          <a:lstStyle/>
          <a:p>
            <a:pPr algn="ctr">
              <a:buFontTx/>
              <a:buNone/>
            </a:pP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1960 г</a:t>
            </a: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b="1" u="sng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000" b="1" u="sng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000" b="1" u="sng" dirty="0" smtClean="0">
                <a:latin typeface="Times New Roman" pitchFamily="18" charset="0"/>
                <a:cs typeface="Times New Roman" pitchFamily="18" charset="0"/>
              </a:rPr>
              <a:t>ЦЕЛЕПОЛАГАНИЕ СССР        решения </a:t>
            </a:r>
            <a:r>
              <a:rPr lang="en-US" sz="2000" b="1" u="sng" dirty="0" smtClean="0">
                <a:latin typeface="Times New Roman" pitchFamily="18" charset="0"/>
                <a:cs typeface="Times New Roman" pitchFamily="18" charset="0"/>
              </a:rPr>
              <a:t>XXII</a:t>
            </a:r>
            <a:r>
              <a:rPr lang="ru-RU" sz="2000" b="1" u="sng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b="1" u="sng" dirty="0">
                <a:latin typeface="Times New Roman" pitchFamily="18" charset="0"/>
                <a:cs typeface="Times New Roman" pitchFamily="18" charset="0"/>
              </a:rPr>
              <a:t>съезда </a:t>
            </a:r>
            <a:r>
              <a:rPr lang="ru-RU" sz="2000" b="1" u="sng" dirty="0" smtClean="0">
                <a:latin typeface="Times New Roman" pitchFamily="18" charset="0"/>
                <a:cs typeface="Times New Roman" pitchFamily="18" charset="0"/>
              </a:rPr>
              <a:t>КПСС в жизнь</a:t>
            </a:r>
            <a:endParaRPr lang="ru-RU" sz="2000" b="1" u="sng" dirty="0">
              <a:latin typeface="Times New Roman" pitchFamily="18" charset="0"/>
              <a:cs typeface="Times New Roman" pitchFamily="18" charset="0"/>
            </a:endParaRPr>
          </a:p>
          <a:p>
            <a:pPr algn="ctr">
              <a:buFontTx/>
              <a:buNone/>
            </a:pP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«Нынешнее поколение будет жить при коммунизме. Успешное решение этой задачи предлагает высокие темпы роста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ПРОИЗВОДИТЕЛЬНОСТИ ТРУДА»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  <a:p>
            <a:pPr>
              <a:buFontTx/>
              <a:buNone/>
            </a:pPr>
            <a:r>
              <a:rPr lang="ru-RU" sz="1800" u="sng" dirty="0" smtClean="0">
                <a:latin typeface="Times New Roman" pitchFamily="18" charset="0"/>
                <a:cs typeface="Times New Roman" pitchFamily="18" charset="0"/>
              </a:rPr>
              <a:t>Темпы </a:t>
            </a:r>
            <a:r>
              <a:rPr lang="ru-RU" sz="1800" u="sng" dirty="0">
                <a:latin typeface="Times New Roman" pitchFamily="18" charset="0"/>
                <a:cs typeface="Times New Roman" pitchFamily="18" charset="0"/>
              </a:rPr>
              <a:t>роста производительности труда 1913-1960г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algn="ctr">
              <a:buFontTx/>
              <a:buNone/>
            </a:pPr>
            <a:endParaRPr lang="ru-RU" sz="1800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buFontTx/>
              <a:buNone/>
            </a:pPr>
            <a:endParaRPr lang="ru-RU" sz="1800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buFontTx/>
              <a:buNone/>
            </a:pPr>
            <a:endParaRPr lang="ru-RU" sz="1800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buFontTx/>
              <a:buNone/>
            </a:pPr>
            <a:endParaRPr lang="ru-RU" sz="1800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buFontTx/>
              <a:buNone/>
            </a:pPr>
            <a:endParaRPr lang="ru-RU" sz="1800" dirty="0" smtClean="0">
              <a:latin typeface="Times New Roman" pitchFamily="18" charset="0"/>
              <a:cs typeface="Times New Roman" pitchFamily="18" charset="0"/>
            </a:endParaRPr>
          </a:p>
          <a:p>
            <a:pPr algn="ctr">
              <a:buFontTx/>
              <a:buNone/>
            </a:pPr>
            <a:endParaRPr lang="ru-RU" sz="1800" dirty="0">
              <a:latin typeface="Times New Roman" pitchFamily="18" charset="0"/>
              <a:cs typeface="Times New Roman" pitchFamily="18" charset="0"/>
            </a:endParaRPr>
          </a:p>
          <a:p>
            <a:pPr>
              <a:buFontTx/>
              <a:buNone/>
            </a:pPr>
            <a:r>
              <a:rPr lang="ru-RU" sz="1800" u="sng" dirty="0" err="1" smtClean="0">
                <a:latin typeface="Times New Roman" pitchFamily="18" charset="0"/>
                <a:cs typeface="Times New Roman" pitchFamily="18" charset="0"/>
              </a:rPr>
              <a:t>Целеполагание</a:t>
            </a:r>
            <a:r>
              <a:rPr lang="ru-RU" sz="1800" u="sng" dirty="0" smtClean="0">
                <a:latin typeface="Times New Roman" pitchFamily="18" charset="0"/>
                <a:cs typeface="Times New Roman" pitchFamily="18" charset="0"/>
              </a:rPr>
              <a:t>: </a:t>
            </a:r>
          </a:p>
          <a:p>
            <a:pPr algn="ctr">
              <a:buFontTx/>
              <a:buNone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За 20 лет 1960-1980 в 4-4,5 раза в промышленности</a:t>
            </a:r>
          </a:p>
          <a:p>
            <a:pPr algn="ctr">
              <a:buFontTx/>
              <a:buNone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                             в 5 раз в сельском хозяйстве.</a:t>
            </a:r>
          </a:p>
          <a:p>
            <a:pPr algn="ctr">
              <a:buFontTx/>
              <a:buNone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За 10 лет к 1970г. – в 2 раза (значит ежегодно на 10%)</a:t>
            </a:r>
          </a:p>
          <a:p>
            <a:pPr algn="ctr">
              <a:buFontTx/>
              <a:buNone/>
            </a:pP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1980 г.</a:t>
            </a:r>
            <a:r>
              <a:rPr lang="en-US" sz="1800" dirty="0" smtClean="0">
                <a:latin typeface="Times New Roman" pitchFamily="18" charset="0"/>
                <a:cs typeface="Times New Roman" pitchFamily="18" charset="0"/>
              </a:rPr>
              <a:t>: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8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Уровень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производительности труда должен быть в 2 раза выше чем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800" dirty="0">
                <a:latin typeface="Times New Roman" pitchFamily="18" charset="0"/>
                <a:cs typeface="Times New Roman" pitchFamily="18" charset="0"/>
              </a:rPr>
              <a:t>США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!</a:t>
            </a:r>
            <a:br>
              <a:rPr lang="ru-RU" sz="18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Все это </a:t>
            </a:r>
            <a:r>
              <a:rPr lang="ru-RU" sz="1800" dirty="0" err="1" smtClean="0">
                <a:latin typeface="Times New Roman" pitchFamily="18" charset="0"/>
                <a:cs typeface="Times New Roman" pitchFamily="18" charset="0"/>
              </a:rPr>
              <a:t>Минсредмаш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 принял к исполнению!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285852" y="5500702"/>
            <a:ext cx="785818" cy="28575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9" name="Object 2"/>
          <p:cNvGraphicFramePr>
            <a:graphicFrameLocks noGrp="1" noChangeAspect="1"/>
          </p:cNvGraphicFramePr>
          <p:nvPr>
            <p:ph type="chart" sz="half" idx="2"/>
          </p:nvPr>
        </p:nvGraphicFramePr>
        <p:xfrm>
          <a:off x="1000100" y="2000240"/>
          <a:ext cx="5421313" cy="1871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100" name="Line 4"/>
          <p:cNvSpPr>
            <a:spLocks noChangeShapeType="1"/>
          </p:cNvSpPr>
          <p:nvPr/>
        </p:nvSpPr>
        <p:spPr bwMode="auto">
          <a:xfrm>
            <a:off x="4929190" y="500042"/>
            <a:ext cx="35719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</p:spPr>
        <p:txBody>
          <a:bodyPr/>
          <a:lstStyle/>
          <a:p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71536" y="6429420"/>
            <a:ext cx="1643010" cy="35719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вод ПСР-2011</a:t>
            </a:r>
            <a:r>
              <a:rPr lang="en-US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0482" name="Picture 2" descr="Картинка 6 из 82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86578" y="2714620"/>
            <a:ext cx="1714512" cy="121056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484" name="Picture 4" descr="Картинка 29 из 829"/>
          <p:cNvPicPr>
            <a:picLocks noChangeAspect="1" noChangeArrowheads="1"/>
          </p:cNvPicPr>
          <p:nvPr/>
        </p:nvPicPr>
        <p:blipFill>
          <a:blip r:embed="rId4" cstate="print"/>
          <a:srcRect l="5784" t="9404" r="3598" b="20062"/>
          <a:stretch>
            <a:fillRect/>
          </a:stretch>
        </p:blipFill>
        <p:spPr bwMode="auto">
          <a:xfrm>
            <a:off x="5643570" y="1928802"/>
            <a:ext cx="1790713" cy="114300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2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0" y="6381750"/>
            <a:ext cx="457200" cy="476250"/>
          </a:xfrm>
        </p:spPr>
        <p:txBody>
          <a:bodyPr/>
          <a:lstStyle/>
          <a:p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endParaRPr lang="ru-RU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>
          <a:xfrm>
            <a:off x="1000100" y="500042"/>
            <a:ext cx="8143900" cy="571504"/>
          </a:xfrm>
        </p:spPr>
        <p:txBody>
          <a:bodyPr>
            <a:normAutofit/>
          </a:bodyPr>
          <a:lstStyle/>
          <a:p>
            <a:r>
              <a:rPr lang="ru-RU" sz="2000" b="1" u="sng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Рационализация </a:t>
            </a:r>
            <a:r>
              <a:rPr lang="ru-RU" sz="2000" b="1" u="sng" dirty="0">
                <a:solidFill>
                  <a:schemeClr val="tx1"/>
                </a:solidFill>
                <a:effectLst/>
                <a:latin typeface="Times New Roman" pitchFamily="18" charset="0"/>
              </a:rPr>
              <a:t>и изобретательство</a:t>
            </a:r>
          </a:p>
        </p:txBody>
      </p:sp>
      <p:sp>
        <p:nvSpPr>
          <p:cNvPr id="17411" name="Rectangle 3"/>
          <p:cNvSpPr>
            <a:spLocks noGrp="1" noChangeArrowheads="1"/>
          </p:cNvSpPr>
          <p:nvPr>
            <p:ph idx="1"/>
          </p:nvPr>
        </p:nvSpPr>
        <p:spPr>
          <a:xfrm>
            <a:off x="1000100" y="1268412"/>
            <a:ext cx="8143900" cy="5232422"/>
          </a:xfrm>
        </p:spPr>
        <p:txBody>
          <a:bodyPr/>
          <a:lstStyle/>
          <a:p>
            <a:pPr marL="609600" indent="-609600">
              <a:buFontTx/>
              <a:buNone/>
            </a:pPr>
            <a:r>
              <a:rPr lang="ru-RU" sz="1600" dirty="0">
                <a:latin typeface="Times New Roman" pitchFamily="18" charset="0"/>
              </a:rPr>
              <a:t>Цель: снижение себестоимости продукции.</a:t>
            </a:r>
          </a:p>
          <a:p>
            <a:pPr marL="609600" indent="-609600">
              <a:buFontTx/>
              <a:buNone/>
            </a:pPr>
            <a:r>
              <a:rPr lang="ru-RU" sz="1600" u="sng" dirty="0">
                <a:latin typeface="Times New Roman" pitchFamily="18" charset="0"/>
              </a:rPr>
              <a:t>Факт 1961г</a:t>
            </a:r>
            <a:r>
              <a:rPr lang="ru-RU" sz="1600" dirty="0">
                <a:latin typeface="Times New Roman" pitchFamily="18" charset="0"/>
              </a:rPr>
              <a:t>.: 70% сверхпланового снижения себестоимости получено </a:t>
            </a:r>
            <a:r>
              <a:rPr lang="ru-RU" sz="1600" dirty="0" smtClean="0">
                <a:latin typeface="Times New Roman" pitchFamily="18" charset="0"/>
              </a:rPr>
              <a:t/>
            </a:r>
            <a:br>
              <a:rPr lang="ru-RU" sz="1600" dirty="0" smtClean="0">
                <a:latin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</a:rPr>
              <a:t>за </a:t>
            </a:r>
            <a:r>
              <a:rPr lang="ru-RU" sz="1600" dirty="0">
                <a:latin typeface="Times New Roman" pitchFamily="18" charset="0"/>
              </a:rPr>
              <a:t>счет внедрения </a:t>
            </a:r>
            <a:r>
              <a:rPr lang="ru-RU" sz="1600" dirty="0" err="1" smtClean="0">
                <a:latin typeface="Times New Roman" pitchFamily="18" charset="0"/>
              </a:rPr>
              <a:t>рац</a:t>
            </a:r>
            <a:r>
              <a:rPr lang="en-US" sz="1600" dirty="0" smtClean="0">
                <a:latin typeface="Times New Roman" pitchFamily="18" charset="0"/>
              </a:rPr>
              <a:t>.</a:t>
            </a:r>
            <a:r>
              <a:rPr lang="ru-RU" sz="1600" dirty="0" smtClean="0">
                <a:latin typeface="Times New Roman" pitchFamily="18" charset="0"/>
              </a:rPr>
              <a:t> </a:t>
            </a:r>
            <a:r>
              <a:rPr lang="ru-RU" sz="1600" dirty="0">
                <a:latin typeface="Times New Roman" pitchFamily="18" charset="0"/>
              </a:rPr>
              <a:t>предложений и изобретений.</a:t>
            </a:r>
          </a:p>
          <a:p>
            <a:pPr marL="609600" indent="-609600">
              <a:buFontTx/>
              <a:buNone/>
            </a:pPr>
            <a:r>
              <a:rPr lang="ru-RU" sz="1600" dirty="0">
                <a:latin typeface="Times New Roman" pitchFamily="18" charset="0"/>
              </a:rPr>
              <a:t>Соревнование: каждый 4-й, 5-й и 8-й работающий – рационализатор.</a:t>
            </a:r>
          </a:p>
          <a:p>
            <a:pPr marL="609600" indent="-609600" algn="ctr">
              <a:buFontTx/>
              <a:buNone/>
            </a:pPr>
            <a:r>
              <a:rPr lang="ru-RU" sz="1600" u="sng" dirty="0">
                <a:latin typeface="Times New Roman" pitchFamily="18" charset="0"/>
              </a:rPr>
              <a:t>Формы работы:</a:t>
            </a:r>
          </a:p>
          <a:p>
            <a:pPr marL="609600" indent="-609600">
              <a:buClrTx/>
              <a:buSzPct val="150000"/>
              <a:buFontTx/>
              <a:buAutoNum type="arabicPeriod"/>
            </a:pPr>
            <a:r>
              <a:rPr lang="ru-RU" sz="1600" dirty="0">
                <a:latin typeface="Times New Roman" pitchFamily="18" charset="0"/>
              </a:rPr>
              <a:t>Темник «узких мест» - в доходчивой форме.</a:t>
            </a:r>
          </a:p>
          <a:p>
            <a:pPr marL="609600" indent="-609600">
              <a:buClrTx/>
              <a:buSzPct val="150000"/>
              <a:buFontTx/>
              <a:buAutoNum type="arabicPeriod"/>
            </a:pPr>
            <a:r>
              <a:rPr lang="ru-RU" sz="1600" dirty="0">
                <a:latin typeface="Times New Roman" pitchFamily="18" charset="0"/>
              </a:rPr>
              <a:t>Заводские конкурсы, смотры.</a:t>
            </a:r>
          </a:p>
          <a:p>
            <a:pPr marL="609600" indent="-609600">
              <a:buClrTx/>
              <a:buSzPct val="150000"/>
              <a:buFontTx/>
              <a:buAutoNum type="arabicPeriod"/>
            </a:pPr>
            <a:r>
              <a:rPr lang="ru-RU" sz="1600" dirty="0">
                <a:latin typeface="Times New Roman" pitchFamily="18" charset="0"/>
              </a:rPr>
              <a:t>Командировки по обмену опытом на другие предприятия.</a:t>
            </a:r>
          </a:p>
          <a:p>
            <a:pPr marL="609600" indent="-609600">
              <a:buClrTx/>
              <a:buSzPct val="150000"/>
              <a:buFontTx/>
              <a:buAutoNum type="arabicPeriod"/>
            </a:pPr>
            <a:r>
              <a:rPr lang="ru-RU" sz="1600" dirty="0">
                <a:latin typeface="Times New Roman" pitchFamily="18" charset="0"/>
              </a:rPr>
              <a:t>Показ технических кинофильмов, чтение лекций.</a:t>
            </a:r>
          </a:p>
          <a:p>
            <a:pPr marL="609600" indent="-609600">
              <a:buClrTx/>
              <a:buSzPct val="150000"/>
              <a:buFontTx/>
              <a:buAutoNum type="arabicPeriod"/>
            </a:pPr>
            <a:r>
              <a:rPr lang="ru-RU" sz="1600" dirty="0">
                <a:latin typeface="Times New Roman" pitchFamily="18" charset="0"/>
              </a:rPr>
              <a:t>Организация «творческих комплексных бригад» - добровольное объединение конструкторов, технологов, механиков, электриков и т.д. </a:t>
            </a:r>
            <a:r>
              <a:rPr lang="ru-RU" sz="1600" dirty="0" smtClean="0">
                <a:latin typeface="Times New Roman" pitchFamily="18" charset="0"/>
              </a:rPr>
              <a:t>«Общественно-конструкторское </a:t>
            </a:r>
            <a:r>
              <a:rPr lang="ru-RU" sz="1600" dirty="0">
                <a:latin typeface="Times New Roman" pitchFamily="18" charset="0"/>
              </a:rPr>
              <a:t>бюро».</a:t>
            </a:r>
          </a:p>
          <a:p>
            <a:pPr marL="609600" indent="-609600">
              <a:buClrTx/>
              <a:buSzPct val="150000"/>
              <a:buFontTx/>
              <a:buAutoNum type="arabicPeriod"/>
            </a:pPr>
            <a:r>
              <a:rPr lang="ru-RU" sz="1600" dirty="0">
                <a:latin typeface="Times New Roman" pitchFamily="18" charset="0"/>
              </a:rPr>
              <a:t>Действует вертикаль Советов ВОИР (Всесоюзное общество изобретателей и </a:t>
            </a:r>
            <a:r>
              <a:rPr lang="ru-RU" sz="1600" dirty="0" smtClean="0">
                <a:latin typeface="Times New Roman" pitchFamily="18" charset="0"/>
              </a:rPr>
              <a:t>рационализаторов) </a:t>
            </a:r>
            <a:r>
              <a:rPr lang="ru-RU" sz="1600" dirty="0">
                <a:latin typeface="Times New Roman" pitchFamily="18" charset="0"/>
              </a:rPr>
              <a:t>до цеховых: членские взносы </a:t>
            </a:r>
            <a:r>
              <a:rPr lang="ru-RU" sz="1600" dirty="0" smtClean="0">
                <a:latin typeface="Times New Roman" pitchFamily="18" charset="0"/>
              </a:rPr>
              <a:t>работа </a:t>
            </a:r>
            <a:r>
              <a:rPr lang="ru-RU" sz="1600" dirty="0">
                <a:latin typeface="Times New Roman" pitchFamily="18" charset="0"/>
              </a:rPr>
              <a:t>по плану, работа уполномоченных по рационализаторской работе.</a:t>
            </a:r>
          </a:p>
          <a:p>
            <a:pPr marL="609600" indent="-609600">
              <a:buClrTx/>
              <a:buSzPct val="150000"/>
              <a:buFontTx/>
              <a:buAutoNum type="arabicPeriod"/>
            </a:pPr>
            <a:r>
              <a:rPr lang="ru-RU" sz="1600" dirty="0">
                <a:latin typeface="Times New Roman" pitchFamily="18" charset="0"/>
              </a:rPr>
              <a:t>Выплата авторских вознаграждений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143108" y="6273249"/>
            <a:ext cx="7000924" cy="58477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609600" indent="-609600" algn="ctr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</a:rPr>
              <a:t>Надо возобновлять эту работу на новом организационном уровне!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b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О! Её будет не достаточно – так же как и тогда!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071538" y="6273249"/>
            <a:ext cx="1285820" cy="35719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вод </a:t>
            </a:r>
            <a:r>
              <a:rPr lang="en-US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000100" y="71414"/>
            <a:ext cx="81439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</a:rPr>
              <a:t>Что уже работало к этому времени??! 1961 г</a:t>
            </a:r>
            <a:r>
              <a:rPr lang="en-US" sz="2400" b="1" dirty="0" smtClean="0">
                <a:latin typeface="Times New Roman" pitchFamily="18" charset="0"/>
              </a:rPr>
              <a:t>.</a:t>
            </a:r>
            <a:endParaRPr lang="ru-RU" sz="2400" b="1" dirty="0"/>
          </a:p>
        </p:txBody>
      </p:sp>
      <p:pic>
        <p:nvPicPr>
          <p:cNvPr id="19458" name="Picture 2" descr="Картинка 123 из 17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72428" y="571480"/>
            <a:ext cx="1571604" cy="1602300"/>
          </a:xfrm>
          <a:prstGeom prst="rect">
            <a:avLst/>
          </a:prstGeom>
          <a:noFill/>
        </p:spPr>
      </p:pic>
      <p:pic>
        <p:nvPicPr>
          <p:cNvPr id="19460" name="Picture 4" descr="Картинка 80 из 17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43702" y="2357430"/>
            <a:ext cx="2250733" cy="186011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2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0" y="6381750"/>
            <a:ext cx="457200" cy="476250"/>
          </a:xfrm>
        </p:spPr>
        <p:txBody>
          <a:bodyPr/>
          <a:lstStyle/>
          <a:p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ru-RU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Прямоугольник 29"/>
          <p:cNvSpPr/>
          <p:nvPr/>
        </p:nvSpPr>
        <p:spPr>
          <a:xfrm>
            <a:off x="1000100" y="0"/>
            <a:ext cx="5072098" cy="9286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00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Преемственность </a:t>
            </a:r>
            <a:r>
              <a:rPr lang="ru-RU" sz="2000" b="1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НОТПиУ</a:t>
            </a:r>
            <a:r>
              <a:rPr lang="ru-RU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sz="2000" b="1" dirty="0" err="1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Минсредмаш</a:t>
            </a:r>
            <a:r>
              <a:rPr lang="ru-RU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	 </a:t>
            </a:r>
            <a:br>
              <a:rPr lang="ru-RU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</a:br>
            <a:r>
              <a:rPr lang="ru-RU" sz="2000" b="1" dirty="0" smtClean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ПС ГК «Росатом»</a:t>
            </a:r>
            <a:endParaRPr lang="en-US" sz="2000" b="1" dirty="0" smtClean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71438" y="2293929"/>
          <a:ext cx="9072594" cy="3764976"/>
        </p:xfrm>
        <a:graphic>
          <a:graphicData uri="http://schemas.openxmlformats.org/drawingml/2006/table">
            <a:tbl>
              <a:tblPr firstRow="1" bandRow="1">
                <a:tableStyleId>{D113A9D2-9D6B-4929-AA2D-F23B5EE8CBE7}</a:tableStyleId>
              </a:tblPr>
              <a:tblGrid>
                <a:gridCol w="5072098"/>
                <a:gridCol w="4000496"/>
              </a:tblGrid>
              <a:tr h="1021776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en-US" sz="2400" dirty="0" smtClean="0"/>
                        <a:t> </a:t>
                      </a:r>
                      <a:r>
                        <a:rPr lang="ru-RU" sz="2400" dirty="0" smtClean="0"/>
                        <a:t>ТРУД </a:t>
                      </a:r>
                      <a:endParaRPr lang="en-US" sz="2400" dirty="0" smtClean="0"/>
                    </a:p>
                    <a:p>
                      <a:pPr>
                        <a:buFontTx/>
                        <a:buNone/>
                      </a:pPr>
                      <a:r>
                        <a:rPr lang="ru-RU" sz="2000" dirty="0" smtClean="0"/>
                        <a:t>(человек</a:t>
                      </a:r>
                      <a:r>
                        <a:rPr lang="en-US" sz="2000" dirty="0" smtClean="0"/>
                        <a:t>,</a:t>
                      </a:r>
                      <a:r>
                        <a:rPr lang="ru-RU" sz="2000" dirty="0" smtClean="0"/>
                        <a:t> бригада</a:t>
                      </a:r>
                      <a:r>
                        <a:rPr lang="en-US" sz="2000" dirty="0" smtClean="0"/>
                        <a:t>, </a:t>
                      </a:r>
                      <a:r>
                        <a:rPr lang="ru-RU" sz="2000" dirty="0" smtClean="0"/>
                        <a:t>рабочее место)</a:t>
                      </a:r>
                      <a:endParaRPr lang="ru-RU" sz="2000" b="0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2000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192801">
                <a:tc>
                  <a:txBody>
                    <a:bodyPr/>
                    <a:lstStyle/>
                    <a:p>
                      <a:r>
                        <a:rPr lang="ru-RU" sz="2400" dirty="0" smtClean="0"/>
                        <a:t>- ПРОИЗВОДСТВО</a:t>
                      </a:r>
                      <a:r>
                        <a:rPr lang="ru-RU" sz="2000" dirty="0" smtClean="0"/>
                        <a:t/>
                      </a:r>
                      <a:br>
                        <a:rPr lang="ru-RU" sz="2000" dirty="0" smtClean="0"/>
                      </a:br>
                      <a:r>
                        <a:rPr lang="ru-RU" sz="2000" dirty="0" smtClean="0"/>
                        <a:t>(непосредственно производственные потоки и процессы</a:t>
                      </a:r>
                      <a:r>
                        <a:rPr lang="en-US" sz="2000" dirty="0" smtClean="0"/>
                        <a:t>, </a:t>
                      </a:r>
                      <a:r>
                        <a:rPr lang="ru-RU" sz="2000" dirty="0" smtClean="0"/>
                        <a:t>их</a:t>
                      </a:r>
                      <a:r>
                        <a:rPr lang="ru-RU" sz="2000" baseline="0" dirty="0" smtClean="0"/>
                        <a:t> </a:t>
                      </a:r>
                      <a:r>
                        <a:rPr lang="ru-RU" sz="2000" dirty="0" smtClean="0"/>
                        <a:t>механизация</a:t>
                      </a:r>
                      <a:r>
                        <a:rPr lang="ru-RU" sz="2000" baseline="0" dirty="0" smtClean="0"/>
                        <a:t> и</a:t>
                      </a:r>
                      <a:r>
                        <a:rPr lang="ru-RU" sz="2000" dirty="0" smtClean="0"/>
                        <a:t> автоматизация)</a:t>
                      </a:r>
                      <a:endParaRPr lang="ru-RU" sz="2000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ru-RU" sz="2000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1214446">
                <a:tc>
                  <a:txBody>
                    <a:bodyPr/>
                    <a:lstStyle/>
                    <a:p>
                      <a:pPr>
                        <a:buFontTx/>
                        <a:buChar char="-"/>
                      </a:pPr>
                      <a:r>
                        <a:rPr lang="ru-RU" sz="2000" dirty="0" smtClean="0"/>
                        <a:t> </a:t>
                      </a:r>
                      <a:r>
                        <a:rPr lang="ru-RU" sz="2400" dirty="0" smtClean="0"/>
                        <a:t>УПРАВЛЕНИЕ</a:t>
                      </a:r>
                      <a:r>
                        <a:rPr lang="ru-RU" sz="2000" dirty="0" smtClean="0"/>
                        <a:t/>
                      </a:r>
                      <a:br>
                        <a:rPr lang="ru-RU" sz="2000" dirty="0" smtClean="0"/>
                      </a:br>
                      <a:r>
                        <a:rPr lang="ru-RU" sz="2000" dirty="0" smtClean="0"/>
                        <a:t>(совершенствование</a:t>
                      </a:r>
                      <a:r>
                        <a:rPr lang="ru-RU" sz="2000" baseline="0" dirty="0" smtClean="0"/>
                        <a:t> структур</a:t>
                      </a:r>
                      <a:r>
                        <a:rPr lang="en-US" sz="2000" baseline="0" dirty="0" smtClean="0"/>
                        <a:t>,</a:t>
                      </a:r>
                      <a:r>
                        <a:rPr lang="ru-RU" sz="2000" baseline="0" dirty="0" smtClean="0"/>
                        <a:t> схем и</a:t>
                      </a:r>
                    </a:p>
                    <a:p>
                      <a:pPr>
                        <a:buFontTx/>
                        <a:buNone/>
                      </a:pPr>
                      <a:r>
                        <a:rPr lang="ru-RU" sz="2000" baseline="0" dirty="0" smtClean="0"/>
                        <a:t>методов управления производством</a:t>
                      </a:r>
                      <a:r>
                        <a:rPr lang="en-US" sz="2000" baseline="0" dirty="0" smtClean="0"/>
                        <a:t>,</a:t>
                      </a:r>
                      <a:r>
                        <a:rPr lang="ru-RU" sz="2000" baseline="0" dirty="0" smtClean="0"/>
                        <a:t> расстановки кадров</a:t>
                      </a:r>
                      <a:r>
                        <a:rPr lang="ru-RU" sz="2000" dirty="0" smtClean="0"/>
                        <a:t>)</a:t>
                      </a:r>
                      <a:endParaRPr lang="ru-RU" sz="2000" b="0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2000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7715272" y="1936739"/>
            <a:ext cx="1357322" cy="35719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Завтра это</a:t>
            </a:r>
            <a:r>
              <a:rPr lang="en-US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endParaRPr lang="ru-RU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572264" y="2357430"/>
            <a:ext cx="64294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+</a:t>
            </a:r>
            <a:endParaRPr lang="ru-RU" sz="54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572264" y="4720248"/>
            <a:ext cx="64294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5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+</a:t>
            </a:r>
            <a:endParaRPr lang="ru-RU" sz="54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072198" y="3786190"/>
            <a:ext cx="1438252" cy="357190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СР = </a:t>
            </a:r>
            <a:r>
              <a:rPr lang="en-US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TPS</a:t>
            </a:r>
            <a:endParaRPr lang="ru-RU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0" y="1056015"/>
            <a:ext cx="5929322" cy="1123712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962 г</a:t>
            </a:r>
            <a:r>
              <a:rPr lang="en-US" sz="2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2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- в Минсредмаше появился термин </a:t>
            </a:r>
            <a:br>
              <a:rPr lang="ru-RU" sz="2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«Научная организация труда</a:t>
            </a:r>
            <a:r>
              <a:rPr lang="en-US" sz="2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</a:t>
            </a:r>
            <a:r>
              <a:rPr lang="ru-RU" sz="2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br>
              <a:rPr lang="ru-RU" sz="2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изводства и управления» – НОТПиУ</a:t>
            </a:r>
            <a:endParaRPr lang="ru-RU" sz="20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7367606" y="3714752"/>
            <a:ext cx="2762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+</a:t>
            </a:r>
            <a:endParaRPr lang="ru-RU" sz="24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7643834" y="3500438"/>
            <a:ext cx="1500166" cy="857256"/>
          </a:xfrm>
          <a:prstGeom prst="rect">
            <a:avLst/>
          </a:prstGeom>
          <a:ln>
            <a:solidFill>
              <a:srgbClr val="FF0000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Другие инструменты мировой практики</a:t>
            </a:r>
            <a:endParaRPr lang="ru-RU" sz="1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22" name="Прямая со стрелкой 21"/>
          <p:cNvCxnSpPr/>
          <p:nvPr/>
        </p:nvCxnSpPr>
        <p:spPr>
          <a:xfrm rot="5400000" flipH="1" flipV="1">
            <a:off x="6535750" y="3392487"/>
            <a:ext cx="642942" cy="1588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 rot="16200000" flipH="1">
            <a:off x="6535750" y="4535495"/>
            <a:ext cx="642942" cy="1588"/>
          </a:xfrm>
          <a:prstGeom prst="straightConnector1">
            <a:avLst/>
          </a:prstGeom>
          <a:ln>
            <a:solidFill>
              <a:srgbClr val="000000"/>
            </a:solidFill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 rot="5400000">
            <a:off x="3001158" y="927876"/>
            <a:ext cx="285752" cy="1588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7" name="Picture 2" descr="Картинка 21 из 4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72198" y="-24"/>
            <a:ext cx="3071802" cy="200811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9" name="Прямоугольник 18"/>
          <p:cNvSpPr/>
          <p:nvPr/>
        </p:nvSpPr>
        <p:spPr>
          <a:xfrm>
            <a:off x="7643834" y="4786322"/>
            <a:ext cx="1500166" cy="857256"/>
          </a:xfrm>
          <a:prstGeom prst="rect">
            <a:avLst/>
          </a:prstGeom>
          <a:ln>
            <a:solidFill>
              <a:srgbClr val="FF0000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Западный и отечественный опыт</a:t>
            </a:r>
            <a:endParaRPr lang="ru-RU" sz="1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7643834" y="2357430"/>
            <a:ext cx="1500166" cy="857256"/>
          </a:xfrm>
          <a:prstGeom prst="rect">
            <a:avLst/>
          </a:prstGeom>
          <a:ln>
            <a:solidFill>
              <a:srgbClr val="FF0000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пыт 2-х рывков НОТ </a:t>
            </a:r>
            <a:b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1924</a:t>
            </a:r>
            <a:r>
              <a:rPr lang="en-US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,</a:t>
            </a:r>
            <a:r>
              <a:rPr lang="ru-RU" sz="14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1962)</a:t>
            </a:r>
            <a:endParaRPr lang="ru-RU" sz="14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-32" y="6072230"/>
            <a:ext cx="1071538" cy="714356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Вывод</a:t>
            </a:r>
            <a:r>
              <a:rPr lang="en-US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:</a:t>
            </a:r>
            <a:endParaRPr lang="ru-RU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TextBox 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71538" y="6143644"/>
            <a:ext cx="7858180" cy="5847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СР – это новая «</a:t>
            </a:r>
            <a:r>
              <a:rPr lang="ru-RU" sz="1600" b="1" dirty="0" err="1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ересборка</a:t>
            </a: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» – комбинация инструментов совершенствования</a:t>
            </a:r>
            <a:r>
              <a:rPr lang="en-US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всей системы управления производственными процессами</a:t>
            </a:r>
            <a:endParaRPr lang="ru-RU" sz="1600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5214942" y="3519638"/>
            <a:ext cx="1071570" cy="533103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егодня это</a:t>
            </a:r>
            <a:r>
              <a:rPr lang="en-US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endParaRPr lang="ru-RU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1000100" y="428604"/>
            <a:ext cx="8143900" cy="1071570"/>
          </a:xfrm>
        </p:spPr>
        <p:txBody>
          <a:bodyPr>
            <a:normAutofit fontScale="90000"/>
          </a:bodyPr>
          <a:lstStyle/>
          <a:p>
            <a:r>
              <a:rPr lang="ru-RU" sz="1600" dirty="0">
                <a:solidFill>
                  <a:schemeClr val="tx1"/>
                </a:solidFill>
                <a:effectLst/>
                <a:latin typeface="Times New Roman" pitchFamily="18" charset="0"/>
              </a:rPr>
              <a:t>		</a:t>
            </a:r>
            <a:br>
              <a:rPr lang="ru-RU" sz="1600" dirty="0">
                <a:solidFill>
                  <a:schemeClr val="tx1"/>
                </a:solidFill>
                <a:effectLst/>
                <a:latin typeface="Times New Roman" pitchFamily="18" charset="0"/>
              </a:rPr>
            </a:br>
            <a:r>
              <a:rPr lang="ru-RU" sz="2200" b="1" u="sng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Отраслевое </a:t>
            </a:r>
            <a:r>
              <a:rPr lang="ru-RU" sz="2200" b="1" u="sng" dirty="0">
                <a:solidFill>
                  <a:schemeClr val="tx1"/>
                </a:solidFill>
                <a:effectLst/>
                <a:latin typeface="Times New Roman" pitchFamily="18" charset="0"/>
              </a:rPr>
              <a:t>совещание по вопросу повышения производительности </a:t>
            </a:r>
            <a:r>
              <a:rPr lang="en-US" sz="2200" b="1" u="sng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/>
            </a:r>
            <a:br>
              <a:rPr lang="en-US" sz="2200" b="1" u="sng" dirty="0" smtClean="0">
                <a:solidFill>
                  <a:schemeClr val="tx1"/>
                </a:solidFill>
                <a:effectLst/>
                <a:latin typeface="Times New Roman" pitchFamily="18" charset="0"/>
              </a:rPr>
            </a:br>
            <a:r>
              <a:rPr lang="ru-RU" sz="2200" b="1" u="sng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труда </a:t>
            </a:r>
            <a:r>
              <a:rPr lang="ru-RU" sz="2200" b="1" u="sng" dirty="0">
                <a:solidFill>
                  <a:schemeClr val="tx1"/>
                </a:solidFill>
                <a:effectLst/>
                <a:latin typeface="Times New Roman" pitchFamily="18" charset="0"/>
              </a:rPr>
              <a:t>на основе НТП на предприятиях Главка  </a:t>
            </a:r>
            <a: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  <a:t/>
            </a:r>
            <a:b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</a:br>
            <a:r>
              <a:rPr lang="ru-RU" sz="1800" dirty="0">
                <a:solidFill>
                  <a:schemeClr val="tx1"/>
                </a:solidFill>
                <a:effectLst/>
                <a:latin typeface="Times New Roman" pitchFamily="18" charset="0"/>
              </a:rPr>
              <a:t>(4-7 июля 1962г.  - 4 </a:t>
            </a:r>
            <a:r>
              <a:rPr lang="ru-RU" sz="1800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дня работы)</a:t>
            </a:r>
            <a:r>
              <a:rPr lang="ru-RU" sz="1400" dirty="0">
                <a:solidFill>
                  <a:schemeClr val="tx1"/>
                </a:solidFill>
                <a:effectLst/>
                <a:latin typeface="Times New Roman" pitchFamily="18" charset="0"/>
              </a:rPr>
              <a:t>	</a:t>
            </a:r>
            <a:r>
              <a:rPr lang="ru-RU" sz="1600" dirty="0">
                <a:solidFill>
                  <a:schemeClr val="tx1"/>
                </a:solidFill>
                <a:effectLst/>
                <a:latin typeface="Times New Roman" pitchFamily="18" charset="0"/>
              </a:rPr>
              <a:t>											</a:t>
            </a:r>
          </a:p>
        </p:txBody>
      </p:sp>
      <p:graphicFrame>
        <p:nvGraphicFramePr>
          <p:cNvPr id="6289" name="Group 145"/>
          <p:cNvGraphicFramePr>
            <a:graphicFrameLocks noGrp="1"/>
          </p:cNvGraphicFramePr>
          <p:nvPr>
            <p:ph type="tbl" idx="1"/>
          </p:nvPr>
        </p:nvGraphicFramePr>
        <p:xfrm>
          <a:off x="1000100" y="1785926"/>
          <a:ext cx="8001024" cy="10668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8001024"/>
              </a:tblGrid>
              <a:tr h="86941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«Не везде создана </a:t>
                      </a:r>
                      <a:r>
                        <a:rPr kumimoji="0" lang="ru-RU" sz="1600" b="0" u="sng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 нас хорошая поточность производства</a:t>
                      </a: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 </a:t>
                      </a: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/>
                      </a:r>
                      <a:b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ередко бывает так, что последующая операция перебрасывается из </a:t>
                      </a: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/>
                      </a:r>
                      <a:b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дного конца здания в другой, потом возвращается обратно, т.е. делает </a:t>
                      </a: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/>
                      </a:r>
                      <a:b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</a:b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замысловатые петли, что затрудняет создание </a:t>
                      </a:r>
                      <a:r>
                        <a:rPr kumimoji="0" lang="ru-RU" sz="1600" u="sng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РОЙНОГО ПОТОКА</a:t>
                      </a:r>
                      <a:r>
                        <a:rPr kumimoji="0" lang="ru-RU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»</a:t>
                      </a:r>
                      <a:endParaRPr kumimoji="0" 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/>
                </a:tc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2143076" y="6000768"/>
            <a:ext cx="7000924" cy="857232"/>
          </a:xfrm>
          <a:prstGeom prst="rect">
            <a:avLst/>
          </a:prstGeo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огда еще не были отработаны инструменты</a:t>
            </a:r>
            <a:r>
              <a:rPr lang="en-US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выравнивание потока</a:t>
            </a:r>
            <a:r>
              <a:rPr lang="en-US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встроенная система качества и т</a:t>
            </a:r>
            <a:r>
              <a:rPr lang="en-US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</a:t>
            </a:r>
            <a:r>
              <a:rPr lang="en-US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Сегодня они есть</a:t>
            </a:r>
            <a:r>
              <a:rPr lang="en-US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И эти проблемы могут решаться на новом качественном уровне</a:t>
            </a:r>
            <a:r>
              <a:rPr lang="en-US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1400" dirty="0" smtClean="0">
                <a:latin typeface="Times New Roman" pitchFamily="18" charset="0"/>
              </a:rPr>
              <a:t> Сегодня накоплен огромный опыт организационно-структурных преобразований</a:t>
            </a:r>
            <a:r>
              <a:rPr lang="en-US" sz="1400" dirty="0" smtClean="0">
                <a:latin typeface="Times New Roman" pitchFamily="18" charset="0"/>
              </a:rPr>
              <a:t>:</a:t>
            </a:r>
            <a:r>
              <a:rPr lang="ru-RU" sz="1400" dirty="0" smtClean="0">
                <a:latin typeface="Times New Roman" pitchFamily="18" charset="0"/>
              </a:rPr>
              <a:t> Он должен быть правильно использован</a:t>
            </a:r>
            <a:r>
              <a:rPr lang="en-US" sz="1400" dirty="0" smtClean="0">
                <a:latin typeface="Times New Roman" pitchFamily="18" charset="0"/>
              </a:rPr>
              <a:t>.</a:t>
            </a:r>
            <a:endParaRPr lang="ru-RU" sz="1400" dirty="0" smtClean="0">
              <a:latin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143636" y="0"/>
            <a:ext cx="30003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i="1" dirty="0" smtClean="0">
                <a:latin typeface="Times New Roman" pitchFamily="18" charset="0"/>
              </a:rPr>
              <a:t>Министерство среднего машиностроения - 1962г.</a:t>
            </a:r>
            <a:endParaRPr lang="ru-RU" sz="14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1000132" y="1428736"/>
            <a:ext cx="814386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</a:rPr>
              <a:t>Некоторые темы по 1-ым результатам комплексных обследований</a:t>
            </a:r>
            <a:endParaRPr lang="ru-RU" sz="2000" b="1" dirty="0"/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>
          <a:xfrm>
            <a:off x="642910" y="1428736"/>
            <a:ext cx="357190" cy="500066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smtClean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j-ea"/>
                <a:cs typeface="+mj-cs"/>
              </a:rPr>
              <a:t>I</a:t>
            </a:r>
            <a:endParaRPr kumimoji="0" lang="ru-RU" sz="2800" b="1" i="1" u="none" strike="noStrike" kern="1200" cap="none" spc="0" normalizeH="0" baseline="0" noProof="0" dirty="0">
              <a:ln>
                <a:noFill/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286644" y="1785926"/>
            <a:ext cx="28575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200" b="1" dirty="0" smtClean="0">
                <a:solidFill>
                  <a:srgbClr val="FF0000"/>
                </a:solidFill>
                <a:latin typeface="Times New Roman" pitchFamily="18" charset="0"/>
              </a:rPr>
              <a:t>!</a:t>
            </a:r>
            <a:endParaRPr lang="ru-RU" sz="7200" b="1" dirty="0">
              <a:solidFill>
                <a:srgbClr val="FF0000"/>
              </a:solidFill>
            </a:endParaRPr>
          </a:p>
        </p:txBody>
      </p:sp>
      <p:sp>
        <p:nvSpPr>
          <p:cNvPr id="16" name="Rectangle 2"/>
          <p:cNvSpPr txBox="1">
            <a:spLocks noChangeArrowheads="1"/>
          </p:cNvSpPr>
          <p:nvPr/>
        </p:nvSpPr>
        <p:spPr>
          <a:xfrm>
            <a:off x="1000100" y="2714620"/>
            <a:ext cx="8143900" cy="857256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sng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Создание рационально-производственной структуры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– резерв повышения ПТ </a:t>
            </a: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7" name="Rectangle 2"/>
          <p:cNvSpPr txBox="1">
            <a:spLocks noChangeArrowheads="1"/>
          </p:cNvSpPr>
          <p:nvPr/>
        </p:nvSpPr>
        <p:spPr>
          <a:xfrm>
            <a:off x="500034" y="2786058"/>
            <a:ext cx="571504" cy="500066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smtClean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j-ea"/>
                <a:cs typeface="+mj-cs"/>
              </a:rPr>
              <a:t>II</a:t>
            </a:r>
            <a:endParaRPr kumimoji="0" lang="ru-RU" sz="2800" b="1" i="1" u="none" strike="noStrike" kern="1200" cap="none" spc="0" normalizeH="0" baseline="0" noProof="0" dirty="0">
              <a:ln>
                <a:noFill/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000100" y="3357562"/>
            <a:ext cx="81439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71438">
              <a:buNone/>
            </a:pPr>
            <a:r>
              <a:rPr lang="ru-RU" sz="1600" dirty="0" smtClean="0">
                <a:latin typeface="Times New Roman" pitchFamily="18" charset="0"/>
              </a:rPr>
              <a:t>«Мы не нашли нигде достаточно ясных рекомендаций и не </a:t>
            </a:r>
            <a:r>
              <a:rPr lang="en-US" sz="1600" dirty="0" smtClean="0">
                <a:latin typeface="Times New Roman" pitchFamily="18" charset="0"/>
              </a:rPr>
              <a:t/>
            </a:r>
            <a:br>
              <a:rPr lang="en-US" sz="1600" dirty="0" smtClean="0">
                <a:latin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</a:rPr>
              <a:t>встретили сотрудников серьезно занимающихся созданием оптимальной </a:t>
            </a:r>
            <a:r>
              <a:rPr lang="en-US" sz="1600" dirty="0" smtClean="0">
                <a:latin typeface="Times New Roman" pitchFamily="18" charset="0"/>
              </a:rPr>
              <a:t/>
            </a:r>
            <a:br>
              <a:rPr lang="en-US" sz="1600" dirty="0" smtClean="0">
                <a:latin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</a:rPr>
              <a:t>структуры производства». (из выступления предприятия </a:t>
            </a:r>
            <a:r>
              <a:rPr lang="ru-RU" sz="1600" dirty="0" err="1" smtClean="0">
                <a:latin typeface="Times New Roman" pitchFamily="18" charset="0"/>
              </a:rPr>
              <a:t>п</a:t>
            </a:r>
            <a:r>
              <a:rPr lang="ru-RU" sz="1600" dirty="0" smtClean="0">
                <a:latin typeface="Times New Roman" pitchFamily="18" charset="0"/>
              </a:rPr>
              <a:t>/я 2511)</a:t>
            </a:r>
            <a:endParaRPr lang="ru-RU" sz="1600" dirty="0">
              <a:latin typeface="Times New Roman" pitchFamily="18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7358082" y="3286124"/>
            <a:ext cx="28575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7200" b="1" dirty="0" smtClean="0">
                <a:solidFill>
                  <a:srgbClr val="FF0000"/>
                </a:solidFill>
                <a:latin typeface="Times New Roman" pitchFamily="18" charset="0"/>
              </a:rPr>
              <a:t>!</a:t>
            </a:r>
            <a:endParaRPr lang="ru-RU" sz="7200" b="1" dirty="0">
              <a:solidFill>
                <a:srgbClr val="FF0000"/>
              </a:solidFill>
            </a:endParaRPr>
          </a:p>
        </p:txBody>
      </p:sp>
      <p:sp>
        <p:nvSpPr>
          <p:cNvPr id="20" name="Rectangle 2"/>
          <p:cNvSpPr txBox="1">
            <a:spLocks noChangeArrowheads="1"/>
          </p:cNvSpPr>
          <p:nvPr/>
        </p:nvSpPr>
        <p:spPr>
          <a:xfrm>
            <a:off x="1000132" y="4286256"/>
            <a:ext cx="7000892" cy="35719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b="1" dirty="0" smtClean="0">
                <a:latin typeface="Times New Roman" pitchFamily="18" charset="0"/>
                <a:ea typeface="+mj-ea"/>
                <a:cs typeface="+mj-cs"/>
              </a:rPr>
              <a:t>Действия на </a:t>
            </a:r>
            <a:r>
              <a:rPr lang="en-US" b="1" dirty="0" smtClean="0">
                <a:latin typeface="Times New Roman" pitchFamily="18" charset="0"/>
                <a:ea typeface="+mj-ea"/>
                <a:cs typeface="+mj-cs"/>
              </a:rPr>
              <a:t>“</a:t>
            </a:r>
            <a:r>
              <a:rPr lang="ru-RU" b="1" dirty="0" smtClean="0">
                <a:latin typeface="Times New Roman" pitchFamily="18" charset="0"/>
                <a:ea typeface="+mj-ea"/>
                <a:cs typeface="+mj-cs"/>
              </a:rPr>
              <a:t>ощупь</a:t>
            </a:r>
            <a:r>
              <a:rPr lang="en-US" b="1" dirty="0" smtClean="0">
                <a:latin typeface="Times New Roman" pitchFamily="18" charset="0"/>
                <a:ea typeface="+mj-ea"/>
                <a:cs typeface="+mj-cs"/>
              </a:rPr>
              <a:t>”</a:t>
            </a:r>
            <a:r>
              <a:rPr lang="ru-RU" b="1" dirty="0" smtClean="0">
                <a:latin typeface="Times New Roman" pitchFamily="18" charset="0"/>
                <a:ea typeface="+mj-ea"/>
                <a:cs typeface="+mj-cs"/>
              </a:rPr>
              <a:t> (нет глубоких научных проработок)</a:t>
            </a:r>
            <a:endParaRPr kumimoji="0" lang="ru-RU" b="1" i="1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21" name="Стрелка вниз 20"/>
          <p:cNvSpPr/>
          <p:nvPr/>
        </p:nvSpPr>
        <p:spPr>
          <a:xfrm>
            <a:off x="4643438" y="4572008"/>
            <a:ext cx="285752" cy="285752"/>
          </a:xfrm>
          <a:prstGeom prst="down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 вниз 21"/>
          <p:cNvSpPr/>
          <p:nvPr/>
        </p:nvSpPr>
        <p:spPr>
          <a:xfrm>
            <a:off x="4643438" y="4143380"/>
            <a:ext cx="285752" cy="285752"/>
          </a:xfrm>
          <a:prstGeom prst="down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1000100" y="4714884"/>
            <a:ext cx="814390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71438">
              <a:buFontTx/>
              <a:buChar char="-"/>
            </a:pPr>
            <a:r>
              <a:rPr lang="ru-RU" sz="1600" dirty="0" smtClean="0">
                <a:latin typeface="Times New Roman" pitchFamily="18" charset="0"/>
              </a:rPr>
              <a:t>укрупнение производственных единиц (разработаны по нескольким комплексам);</a:t>
            </a:r>
          </a:p>
          <a:p>
            <a:pPr indent="-71438">
              <a:buFontTx/>
              <a:buChar char="-"/>
            </a:pPr>
            <a:r>
              <a:rPr lang="ru-RU" sz="1600" dirty="0" smtClean="0">
                <a:latin typeface="Times New Roman" pitchFamily="18" charset="0"/>
              </a:rPr>
              <a:t>создание </a:t>
            </a:r>
            <a:r>
              <a:rPr lang="ru-RU" sz="1600" dirty="0" err="1" smtClean="0">
                <a:latin typeface="Times New Roman" pitchFamily="18" charset="0"/>
              </a:rPr>
              <a:t>бесцеховой</a:t>
            </a:r>
            <a:r>
              <a:rPr lang="ru-RU" sz="1600" dirty="0" smtClean="0">
                <a:latin typeface="Times New Roman" pitchFamily="18" charset="0"/>
              </a:rPr>
              <a:t> структуры (в первую очередь для вспомогательного комплекса: ремонты, энергетика);</a:t>
            </a:r>
          </a:p>
          <a:p>
            <a:pPr indent="-71438">
              <a:buFontTx/>
              <a:buChar char="-"/>
            </a:pPr>
            <a:r>
              <a:rPr lang="ru-RU" sz="1600" dirty="0" smtClean="0">
                <a:latin typeface="Times New Roman" pitchFamily="18" charset="0"/>
              </a:rPr>
              <a:t>укрупнение подразделений в заводоуправлении и т.д.</a:t>
            </a:r>
            <a:endParaRPr lang="ru-RU" sz="1600" dirty="0">
              <a:latin typeface="Times New Roman" pitchFamily="18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57158" y="6000768"/>
            <a:ext cx="1785950" cy="35719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вод ПСР-2011 </a:t>
            </a:r>
            <a:r>
              <a:rPr lang="en-US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6" name="Picture 2" descr="Картинка 20 из 630"/>
          <p:cNvPicPr>
            <a:picLocks noChangeAspect="1" noChangeArrowheads="1"/>
          </p:cNvPicPr>
          <p:nvPr/>
        </p:nvPicPr>
        <p:blipFill>
          <a:blip r:embed="rId3" cstate="print"/>
          <a:srcRect l="5000" t="2427" r="2499" b="6553"/>
          <a:stretch>
            <a:fillRect/>
          </a:stretch>
        </p:blipFill>
        <p:spPr bwMode="auto">
          <a:xfrm>
            <a:off x="7572396" y="1867035"/>
            <a:ext cx="1571604" cy="106189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7" name="Picture 4" descr="Картинка 15 из 10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948128" y="3143248"/>
            <a:ext cx="1195872" cy="171451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9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0" y="6381750"/>
            <a:ext cx="457200" cy="476250"/>
          </a:xfrm>
        </p:spPr>
        <p:txBody>
          <a:bodyPr/>
          <a:lstStyle/>
          <a:p>
            <a:r>
              <a:rPr lang="en-US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endParaRPr lang="ru-RU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 descr="http://sr.gallerix.ru/1973977528/_UNK/1626305014/"/>
          <p:cNvPicPr>
            <a:picLocks noChangeAspect="1" noChangeArrowheads="1"/>
          </p:cNvPicPr>
          <p:nvPr/>
        </p:nvPicPr>
        <p:blipFill>
          <a:blip r:embed="rId2" cstate="print"/>
          <a:srcRect r="-2" b="12071"/>
          <a:stretch>
            <a:fillRect/>
          </a:stretch>
        </p:blipFill>
        <p:spPr bwMode="auto">
          <a:xfrm>
            <a:off x="1000100" y="4572008"/>
            <a:ext cx="1785950" cy="229622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" name="Picture 2" descr="http://www.savok.org/uploads/posts/2010-01/1263924479_le_076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58082" y="4143380"/>
            <a:ext cx="1785918" cy="203593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>
          <a:xfrm>
            <a:off x="1000100" y="500066"/>
            <a:ext cx="8143900" cy="1214422"/>
          </a:xfrm>
        </p:spPr>
        <p:txBody>
          <a:bodyPr>
            <a:normAutofit/>
          </a:bodyPr>
          <a:lstStyle/>
          <a:p>
            <a:r>
              <a:rPr lang="ru-RU" sz="2000" b="1" u="sng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Потери рабочего времени из-за слабой организации труда – резерв роста ПТ </a:t>
            </a:r>
            <a:endParaRPr lang="ru-RU" sz="1800" b="1" i="1" dirty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5603" name="Rectangle 3"/>
          <p:cNvSpPr>
            <a:spLocks noGrp="1" noChangeArrowheads="1"/>
          </p:cNvSpPr>
          <p:nvPr>
            <p:ph idx="1"/>
          </p:nvPr>
        </p:nvSpPr>
        <p:spPr>
          <a:xfrm>
            <a:off x="1000100" y="3571876"/>
            <a:ext cx="8143900" cy="2643206"/>
          </a:xfrm>
        </p:spPr>
        <p:txBody>
          <a:bodyPr>
            <a:noAutofit/>
          </a:bodyPr>
          <a:lstStyle/>
          <a:p>
            <a:pPr indent="19050" algn="ctr">
              <a:buFontTx/>
              <a:buNone/>
            </a:pPr>
            <a:r>
              <a:rPr lang="ru-RU" sz="1800" dirty="0" smtClean="0">
                <a:latin typeface="Times New Roman" pitchFamily="18" charset="0"/>
              </a:rPr>
              <a:t>Надо </a:t>
            </a:r>
            <a:r>
              <a:rPr lang="ru-RU" sz="1800" dirty="0">
                <a:latin typeface="Times New Roman" pitchFamily="18" charset="0"/>
              </a:rPr>
              <a:t>принимать меры по устранению этих причин???</a:t>
            </a:r>
          </a:p>
          <a:p>
            <a:pPr indent="19050" algn="ctr">
              <a:buFontTx/>
              <a:buNone/>
            </a:pPr>
            <a:r>
              <a:rPr lang="ru-RU" sz="1800" dirty="0">
                <a:latin typeface="Times New Roman" pitchFamily="18" charset="0"/>
              </a:rPr>
              <a:t>Было отмечено: мало мы останавливались на этом вопросе как на реальном резерве ПТ.</a:t>
            </a:r>
          </a:p>
          <a:p>
            <a:pPr indent="19050" algn="ctr">
              <a:buFontTx/>
              <a:buNone/>
            </a:pPr>
            <a:r>
              <a:rPr lang="ru-RU" sz="1800" dirty="0" smtClean="0">
                <a:latin typeface="Times New Roman" pitchFamily="18" charset="0"/>
              </a:rPr>
              <a:t>Показательно</a:t>
            </a:r>
            <a:r>
              <a:rPr lang="ru-RU" sz="1800" dirty="0">
                <a:latin typeface="Times New Roman" pitchFamily="18" charset="0"/>
              </a:rPr>
              <a:t>, что в решении конференции </a:t>
            </a:r>
            <a:r>
              <a:rPr lang="en-US" sz="1800" dirty="0" smtClean="0">
                <a:latin typeface="Times New Roman" pitchFamily="18" charset="0"/>
              </a:rPr>
              <a:t/>
            </a:r>
            <a:br>
              <a:rPr lang="en-US" sz="1800" dirty="0" smtClean="0">
                <a:latin typeface="Times New Roman" pitchFamily="18" charset="0"/>
              </a:rPr>
            </a:br>
            <a:r>
              <a:rPr lang="ru-RU" sz="1800" dirty="0" smtClean="0">
                <a:latin typeface="Times New Roman" pitchFamily="18" charset="0"/>
              </a:rPr>
              <a:t>в </a:t>
            </a:r>
            <a:r>
              <a:rPr lang="ru-RU" sz="1800" dirty="0">
                <a:latin typeface="Times New Roman" pitchFamily="18" charset="0"/>
              </a:rPr>
              <a:t>мероприятиях по повышению ПТ.</a:t>
            </a:r>
          </a:p>
          <a:p>
            <a:pPr indent="19050" algn="ctr">
              <a:buFontTx/>
              <a:buNone/>
            </a:pPr>
            <a:endParaRPr lang="en-US" sz="1800" u="sng" dirty="0" smtClean="0">
              <a:latin typeface="Times New Roman" pitchFamily="18" charset="0"/>
            </a:endParaRPr>
          </a:p>
          <a:p>
            <a:pPr indent="19050" algn="ctr">
              <a:buFontTx/>
              <a:buNone/>
            </a:pPr>
            <a:r>
              <a:rPr lang="ru-RU" sz="1800" u="sng" dirty="0" smtClean="0">
                <a:latin typeface="Times New Roman" pitchFamily="18" charset="0"/>
              </a:rPr>
              <a:t>ОБ </a:t>
            </a:r>
            <a:r>
              <a:rPr lang="ru-RU" sz="1800" u="sng" dirty="0">
                <a:latin typeface="Times New Roman" pitchFamily="18" charset="0"/>
              </a:rPr>
              <a:t>ЭТОМ НИ СЛОВА</a:t>
            </a:r>
            <a:r>
              <a:rPr lang="ru-RU" sz="1800" u="sng" dirty="0" smtClean="0">
                <a:latin typeface="Times New Roman" pitchFamily="18" charset="0"/>
              </a:rPr>
              <a:t>!!!</a:t>
            </a:r>
            <a:endParaRPr lang="ru-RU" sz="1800" u="sng" dirty="0">
              <a:latin typeface="Times New Roman" pitchFamily="18" charset="0"/>
            </a:endParaRPr>
          </a:p>
        </p:txBody>
      </p:sp>
      <p:sp>
        <p:nvSpPr>
          <p:cNvPr id="25605" name="AutoShape 5"/>
          <p:cNvSpPr>
            <a:spLocks noChangeArrowheads="1"/>
          </p:cNvSpPr>
          <p:nvPr/>
        </p:nvSpPr>
        <p:spPr bwMode="auto">
          <a:xfrm>
            <a:off x="5000628" y="2143116"/>
            <a:ext cx="357190" cy="357190"/>
          </a:xfrm>
          <a:prstGeom prst="downArrow">
            <a:avLst>
              <a:gd name="adj1" fmla="val 50000"/>
              <a:gd name="adj2" fmla="val 51666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6143636" y="0"/>
            <a:ext cx="30003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i="1" dirty="0" smtClean="0">
                <a:latin typeface="Times New Roman" pitchFamily="18" charset="0"/>
              </a:rPr>
              <a:t>Министерство среднего машиностроения - 1962г.</a:t>
            </a:r>
            <a:endParaRPr lang="ru-RU" sz="14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143108" y="6429396"/>
            <a:ext cx="7000924" cy="33855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indent="-71438" algn="ctr">
              <a:buFontTx/>
              <a:buNone/>
            </a:pPr>
            <a:r>
              <a:rPr lang="ru-RU" sz="1600" dirty="0" smtClean="0">
                <a:latin typeface="Times New Roman" pitchFamily="18" charset="0"/>
              </a:rPr>
              <a:t>Через 40 лет ПС «Росатом» имеет инструментарий восполнить этот пробел.</a:t>
            </a:r>
            <a:endParaRPr lang="ru-RU" sz="1600" dirty="0">
              <a:latin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928726" y="6429396"/>
            <a:ext cx="1285820" cy="428604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вод </a:t>
            </a:r>
            <a:r>
              <a:rPr lang="en-US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Rectangle 2"/>
          <p:cNvSpPr txBox="1">
            <a:spLocks noChangeArrowheads="1"/>
          </p:cNvSpPr>
          <p:nvPr/>
        </p:nvSpPr>
        <p:spPr>
          <a:xfrm>
            <a:off x="1000100" y="142852"/>
            <a:ext cx="7143800" cy="57148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Отраслевое совещание</a:t>
            </a:r>
            <a:r>
              <a:rPr kumimoji="0" lang="ru-RU" sz="2800" b="1" i="0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– 1962 г</a:t>
            </a:r>
            <a:r>
              <a:rPr kumimoji="0" lang="en-US" sz="2800" b="1" i="0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.</a:t>
            </a:r>
            <a:endParaRPr kumimoji="0" lang="ru-RU" sz="2400" b="1" i="1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000164" y="2357430"/>
            <a:ext cx="814383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base">
              <a:spcBef>
                <a:spcPct val="20000"/>
              </a:spcBef>
              <a:spcAft>
                <a:spcPct val="0"/>
              </a:spcAft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u="sng" dirty="0" smtClean="0">
                <a:latin typeface="Times New Roman" pitchFamily="18" charset="0"/>
                <a:cs typeface="Times New Roman" pitchFamily="18" charset="0"/>
              </a:rPr>
              <a:t>Уплотненность рабочего дня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u="sng" dirty="0" smtClean="0">
                <a:latin typeface="Times New Roman" pitchFamily="18" charset="0"/>
                <a:cs typeface="Times New Roman" pitchFamily="18" charset="0"/>
              </a:rPr>
              <a:t>неудовлетворительна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…глубокого изучения не проводилось… методы хронометража не позволили сделать это в нужных масштабах»</a:t>
            </a:r>
          </a:p>
        </p:txBody>
      </p:sp>
      <p:sp>
        <p:nvSpPr>
          <p:cNvPr id="17" name="Rectangle 2"/>
          <p:cNvSpPr txBox="1">
            <a:spLocks noChangeArrowheads="1"/>
          </p:cNvSpPr>
          <p:nvPr/>
        </p:nvSpPr>
        <p:spPr>
          <a:xfrm>
            <a:off x="285720" y="857232"/>
            <a:ext cx="785818" cy="500066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smtClean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j-ea"/>
                <a:cs typeface="+mj-cs"/>
              </a:rPr>
              <a:t>III</a:t>
            </a:r>
            <a:endParaRPr kumimoji="0" lang="ru-RU" sz="2800" b="1" i="1" u="none" strike="noStrike" kern="1200" cap="none" spc="0" normalizeH="0" baseline="0" noProof="0" dirty="0">
              <a:ln>
                <a:noFill/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000100" y="1571612"/>
            <a:ext cx="81439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9050" algn="ctr">
              <a:buFontTx/>
              <a:buNone/>
            </a:pPr>
            <a:r>
              <a:rPr lang="ru-RU" dirty="0" smtClean="0">
                <a:latin typeface="Times New Roman" pitchFamily="18" charset="0"/>
              </a:rPr>
              <a:t>Потери на отдельных участках 20-25% от рабочего времени по вине рабочих или по организационно-техническим неполадкам</a:t>
            </a:r>
            <a:endParaRPr lang="ru-RU" dirty="0">
              <a:latin typeface="Times New Roman" pitchFamily="18" charset="0"/>
            </a:endParaRPr>
          </a:p>
        </p:txBody>
      </p:sp>
      <p:sp>
        <p:nvSpPr>
          <p:cNvPr id="19" name="AutoShape 5"/>
          <p:cNvSpPr>
            <a:spLocks noChangeArrowheads="1"/>
          </p:cNvSpPr>
          <p:nvPr/>
        </p:nvSpPr>
        <p:spPr bwMode="auto">
          <a:xfrm>
            <a:off x="5000628" y="3286124"/>
            <a:ext cx="357190" cy="357190"/>
          </a:xfrm>
          <a:prstGeom prst="downArrow">
            <a:avLst>
              <a:gd name="adj1" fmla="val 50000"/>
              <a:gd name="adj2" fmla="val 51666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endParaRPr lang="ru-RU"/>
          </a:p>
        </p:txBody>
      </p:sp>
      <p:sp>
        <p:nvSpPr>
          <p:cNvPr id="22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0" y="6381750"/>
            <a:ext cx="457200" cy="476250"/>
          </a:xfrm>
        </p:spPr>
        <p:txBody>
          <a:bodyPr/>
          <a:lstStyle/>
          <a:p>
            <a:r>
              <a:rPr lang="en-US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7</a:t>
            </a:r>
            <a:endParaRPr lang="ru-RU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>
          <a:xfrm>
            <a:off x="1000100" y="642918"/>
            <a:ext cx="8143900" cy="928694"/>
          </a:xfrm>
        </p:spPr>
        <p:txBody>
          <a:bodyPr>
            <a:noAutofit/>
          </a:bodyPr>
          <a:lstStyle/>
          <a:p>
            <a:r>
              <a:rPr lang="ru-RU" sz="2000" b="1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Сравнительный </a:t>
            </a:r>
            <a:r>
              <a:rPr lang="ru-RU" sz="2000" b="1" dirty="0">
                <a:solidFill>
                  <a:schemeClr val="tx1"/>
                </a:solidFill>
                <a:effectLst/>
                <a:latin typeface="Times New Roman" pitchFamily="18" charset="0"/>
              </a:rPr>
              <a:t>анализ производительности </a:t>
            </a:r>
            <a:r>
              <a:rPr lang="en-US" sz="2000" b="1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/>
            </a:r>
            <a:br>
              <a:rPr lang="en-US" sz="2000" b="1" dirty="0" smtClean="0">
                <a:solidFill>
                  <a:schemeClr val="tx1"/>
                </a:solidFill>
                <a:effectLst/>
                <a:latin typeface="Times New Roman" pitchFamily="18" charset="0"/>
              </a:rPr>
            </a:br>
            <a:r>
              <a:rPr lang="ru-RU" sz="2000" b="1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труда </a:t>
            </a:r>
            <a:r>
              <a:rPr lang="ru-RU" sz="2000" b="1" dirty="0">
                <a:solidFill>
                  <a:schemeClr val="tx1"/>
                </a:solidFill>
                <a:effectLst/>
                <a:latin typeface="Times New Roman" pitchFamily="18" charset="0"/>
              </a:rPr>
              <a:t>на </a:t>
            </a:r>
            <a:r>
              <a:rPr lang="ru-RU" sz="2000" b="1" dirty="0" smtClean="0">
                <a:solidFill>
                  <a:schemeClr val="tx1"/>
                </a:solidFill>
                <a:effectLst/>
                <a:latin typeface="Times New Roman" pitchFamily="18" charset="0"/>
              </a:rPr>
              <a:t>отечественных и зарубежных заводах</a:t>
            </a:r>
            <a:endParaRPr lang="ru-RU" sz="1600" b="1" i="1" dirty="0"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5363" name="Rectangle 3"/>
          <p:cNvSpPr>
            <a:spLocks noGrp="1" noChangeArrowheads="1"/>
          </p:cNvSpPr>
          <p:nvPr>
            <p:ph idx="1"/>
          </p:nvPr>
        </p:nvSpPr>
        <p:spPr>
          <a:xfrm>
            <a:off x="1000100" y="2571744"/>
            <a:ext cx="8143900" cy="3714776"/>
          </a:xfrm>
        </p:spPr>
        <p:txBody>
          <a:bodyPr>
            <a:noAutofit/>
          </a:bodyPr>
          <a:lstStyle/>
          <a:p>
            <a:pPr>
              <a:buFontTx/>
              <a:buNone/>
            </a:pPr>
            <a:r>
              <a:rPr lang="ru-RU" sz="1800" dirty="0" smtClean="0">
                <a:latin typeface="Times New Roman" pitchFamily="18" charset="0"/>
              </a:rPr>
              <a:t>По </a:t>
            </a:r>
            <a:r>
              <a:rPr lang="ru-RU" sz="1800" dirty="0">
                <a:latin typeface="Times New Roman" pitchFamily="18" charset="0"/>
              </a:rPr>
              <a:t>основному производству сравнение трудовых затрат </a:t>
            </a:r>
            <a:endParaRPr lang="en-US" sz="1800" dirty="0" smtClean="0">
              <a:latin typeface="Times New Roman" pitchFamily="18" charset="0"/>
            </a:endParaRPr>
          </a:p>
          <a:p>
            <a:pPr>
              <a:buFontTx/>
              <a:buNone/>
            </a:pPr>
            <a:r>
              <a:rPr lang="ru-RU" sz="1800" dirty="0" smtClean="0">
                <a:latin typeface="Times New Roman" pitchFamily="18" charset="0"/>
              </a:rPr>
              <a:t>чел/час в</a:t>
            </a:r>
            <a:r>
              <a:rPr lang="en-US" sz="1800" dirty="0" smtClean="0">
                <a:latin typeface="Times New Roman" pitchFamily="18" charset="0"/>
              </a:rPr>
              <a:t> </a:t>
            </a:r>
            <a:r>
              <a:rPr lang="ru-RU" sz="1800" dirty="0" smtClean="0">
                <a:latin typeface="Times New Roman" pitchFamily="18" charset="0"/>
              </a:rPr>
              <a:t>сутки) оказалось вполне сопоставимо.</a:t>
            </a:r>
          </a:p>
          <a:p>
            <a:pPr>
              <a:buFontTx/>
              <a:buNone/>
            </a:pPr>
            <a:r>
              <a:rPr lang="ru-RU" sz="1800" u="sng" dirty="0" smtClean="0">
                <a:latin typeface="Times New Roman" pitchFamily="18" charset="0"/>
              </a:rPr>
              <a:t>Но</a:t>
            </a:r>
            <a:r>
              <a:rPr lang="ru-RU" sz="1800" u="sng" dirty="0">
                <a:latin typeface="Times New Roman" pitchFamily="18" charset="0"/>
              </a:rPr>
              <a:t>!</a:t>
            </a:r>
            <a:r>
              <a:rPr lang="ru-RU" sz="1800" dirty="0">
                <a:latin typeface="Times New Roman" pitchFamily="18" charset="0"/>
              </a:rPr>
              <a:t> На отечественных заводах персонала значительно больше </a:t>
            </a:r>
            <a:endParaRPr lang="en-US" sz="1800" dirty="0" smtClean="0">
              <a:latin typeface="Times New Roman" pitchFamily="18" charset="0"/>
            </a:endParaRPr>
          </a:p>
          <a:p>
            <a:pPr>
              <a:buFontTx/>
              <a:buNone/>
            </a:pPr>
            <a:r>
              <a:rPr lang="ru-RU" sz="1800" dirty="0" smtClean="0">
                <a:latin typeface="Times New Roman" pitchFamily="18" charset="0"/>
              </a:rPr>
              <a:t>за счет</a:t>
            </a:r>
            <a:r>
              <a:rPr lang="en-US" sz="1800" dirty="0" smtClean="0">
                <a:latin typeface="Times New Roman" pitchFamily="18" charset="0"/>
              </a:rPr>
              <a:t> </a:t>
            </a:r>
            <a:r>
              <a:rPr lang="ru-RU" sz="1800" dirty="0" smtClean="0">
                <a:latin typeface="Times New Roman" pitchFamily="18" charset="0"/>
              </a:rPr>
              <a:t>управленческого </a:t>
            </a:r>
            <a:r>
              <a:rPr lang="ru-RU" sz="1800" dirty="0">
                <a:latin typeface="Times New Roman" pitchFamily="18" charset="0"/>
              </a:rPr>
              <a:t>аппарата и вспомогательных рабочих </a:t>
            </a:r>
            <a:endParaRPr lang="en-US" sz="1800" dirty="0" smtClean="0">
              <a:latin typeface="Times New Roman" pitchFamily="18" charset="0"/>
            </a:endParaRPr>
          </a:p>
          <a:p>
            <a:pPr>
              <a:buFontTx/>
              <a:buNone/>
            </a:pPr>
            <a:r>
              <a:rPr lang="ru-RU" sz="1800" dirty="0" smtClean="0">
                <a:latin typeface="Times New Roman" pitchFamily="18" charset="0"/>
              </a:rPr>
              <a:t>(</a:t>
            </a:r>
            <a:r>
              <a:rPr lang="ru-RU" sz="1800" dirty="0">
                <a:latin typeface="Times New Roman" pitchFamily="18" charset="0"/>
              </a:rPr>
              <a:t>в среднем в </a:t>
            </a:r>
            <a:r>
              <a:rPr lang="ru-RU" sz="1800" dirty="0" smtClean="0">
                <a:latin typeface="Times New Roman" pitchFamily="18" charset="0"/>
              </a:rPr>
              <a:t>2,5</a:t>
            </a:r>
          </a:p>
          <a:p>
            <a:pPr>
              <a:buFontTx/>
              <a:buNone/>
            </a:pPr>
            <a:r>
              <a:rPr lang="ru-RU" sz="1800" dirty="0" smtClean="0">
                <a:latin typeface="Times New Roman" pitchFamily="18" charset="0"/>
              </a:rPr>
              <a:t>раза).</a:t>
            </a:r>
            <a:endParaRPr lang="en-US" sz="1800" dirty="0" smtClean="0">
              <a:latin typeface="Times New Roman" pitchFamily="18" charset="0"/>
            </a:endParaRPr>
          </a:p>
          <a:p>
            <a:pPr>
              <a:buFontTx/>
              <a:buNone/>
            </a:pPr>
            <a:endParaRPr lang="en-US" sz="1800" dirty="0" smtClean="0">
              <a:latin typeface="Times New Roman" pitchFamily="18" charset="0"/>
            </a:endParaRPr>
          </a:p>
          <a:p>
            <a:pPr>
              <a:buFontTx/>
              <a:buNone/>
            </a:pPr>
            <a:endParaRPr lang="ru-RU" sz="1800" dirty="0">
              <a:latin typeface="Times New Roman" pitchFamily="18" charset="0"/>
            </a:endParaRPr>
          </a:p>
          <a:p>
            <a:pPr>
              <a:buFontTx/>
              <a:buNone/>
            </a:pPr>
            <a:r>
              <a:rPr lang="ru-RU" sz="1800" dirty="0" smtClean="0">
                <a:latin typeface="Times New Roman" pitchFamily="18" charset="0"/>
              </a:rPr>
              <a:t>Например</a:t>
            </a:r>
            <a:r>
              <a:rPr lang="ru-RU" sz="1800" dirty="0">
                <a:latin typeface="Times New Roman" pitchFamily="18" charset="0"/>
              </a:rPr>
              <a:t>: служба главного механика у них 30 против 166 </a:t>
            </a:r>
            <a:r>
              <a:rPr lang="ru-RU" sz="1800" dirty="0" smtClean="0">
                <a:latin typeface="Times New Roman" pitchFamily="18" charset="0"/>
              </a:rPr>
              <a:t>наших.</a:t>
            </a:r>
          </a:p>
          <a:p>
            <a:pPr>
              <a:buFontTx/>
              <a:buNone/>
            </a:pPr>
            <a:r>
              <a:rPr lang="ru-RU" sz="1800" dirty="0" smtClean="0">
                <a:latin typeface="Times New Roman" pitchFamily="18" charset="0"/>
              </a:rPr>
              <a:t>Большая механизация</a:t>
            </a:r>
            <a:r>
              <a:rPr lang="ru-RU" sz="1800" dirty="0">
                <a:latin typeface="Times New Roman" pitchFamily="18" charset="0"/>
              </a:rPr>
              <a:t>, централизация</a:t>
            </a:r>
            <a:r>
              <a:rPr lang="ru-RU" sz="1800" dirty="0" smtClean="0">
                <a:latin typeface="Times New Roman" pitchFamily="18" charset="0"/>
              </a:rPr>
              <a:t>.</a:t>
            </a:r>
            <a:endParaRPr lang="ru-RU" sz="1800" dirty="0">
              <a:latin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143636" y="0"/>
            <a:ext cx="30003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i="1" dirty="0" smtClean="0">
                <a:latin typeface="Times New Roman" pitchFamily="18" charset="0"/>
              </a:rPr>
              <a:t>Министерство среднего машиностроения - 1962г.</a:t>
            </a:r>
            <a:endParaRPr lang="ru-RU" sz="14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2928926" y="1428736"/>
            <a:ext cx="4286280" cy="1071570"/>
          </a:xfrm>
          <a:prstGeom prst="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мер</a:t>
            </a:r>
            <a:r>
              <a:rPr lang="en-US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r>
              <a:rPr lang="ru-RU" sz="1400" b="1" dirty="0" smtClean="0">
                <a:latin typeface="Times New Roman" pitchFamily="18" charset="0"/>
              </a:rPr>
              <a:t>Завод по переработке руд до закиси-окиси </a:t>
            </a:r>
            <a:br>
              <a:rPr lang="ru-RU" sz="1400" b="1" dirty="0" smtClean="0">
                <a:latin typeface="Times New Roman" pitchFamily="18" charset="0"/>
              </a:rPr>
            </a:br>
            <a:r>
              <a:rPr lang="ru-RU" sz="1400" b="1" dirty="0" smtClean="0">
                <a:latin typeface="Times New Roman" pitchFamily="18" charset="0"/>
              </a:rPr>
              <a:t>(</a:t>
            </a:r>
            <a:r>
              <a:rPr lang="ru-RU" sz="1400" b="1" dirty="0" err="1" smtClean="0">
                <a:latin typeface="Times New Roman" pitchFamily="18" charset="0"/>
              </a:rPr>
              <a:t>п</a:t>
            </a:r>
            <a:r>
              <a:rPr lang="ru-RU" sz="1400" b="1" dirty="0" smtClean="0">
                <a:latin typeface="Times New Roman" pitchFamily="18" charset="0"/>
              </a:rPr>
              <a:t>/я 912 – 3 завода США – 3 завода Канады)</a:t>
            </a:r>
            <a:r>
              <a:rPr lang="ru-RU" sz="1100" b="1" dirty="0" smtClean="0">
                <a:latin typeface="Times New Roman" pitchFamily="18" charset="0"/>
              </a:rPr>
              <a:t> </a:t>
            </a:r>
            <a:endParaRPr lang="ru-RU" sz="1400" dirty="0" smtClean="0"/>
          </a:p>
        </p:txBody>
      </p:sp>
      <p:sp>
        <p:nvSpPr>
          <p:cNvPr id="16" name="Rectangle 2"/>
          <p:cNvSpPr txBox="1">
            <a:spLocks noChangeArrowheads="1"/>
          </p:cNvSpPr>
          <p:nvPr/>
        </p:nvSpPr>
        <p:spPr>
          <a:xfrm>
            <a:off x="1000100" y="142852"/>
            <a:ext cx="7143800" cy="57148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Отраслевое совещание</a:t>
            </a:r>
            <a:r>
              <a:rPr kumimoji="0" lang="ru-RU" sz="2800" b="1" i="0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– 1962 г</a:t>
            </a:r>
            <a:r>
              <a:rPr kumimoji="0" lang="en-US" sz="2800" b="1" i="0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.</a:t>
            </a:r>
            <a:endParaRPr kumimoji="0" lang="ru-RU" sz="2400" b="1" i="1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7" name="Rectangle 2"/>
          <p:cNvSpPr txBox="1">
            <a:spLocks noChangeArrowheads="1"/>
          </p:cNvSpPr>
          <p:nvPr/>
        </p:nvSpPr>
        <p:spPr>
          <a:xfrm>
            <a:off x="285720" y="857232"/>
            <a:ext cx="785818" cy="500066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smtClean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j-ea"/>
                <a:cs typeface="+mj-cs"/>
              </a:rPr>
              <a:t>IV</a:t>
            </a:r>
            <a:endParaRPr kumimoji="0" lang="ru-RU" sz="2800" b="1" i="1" u="none" strike="noStrike" kern="1200" cap="none" spc="0" normalizeH="0" baseline="0" noProof="0" dirty="0">
              <a:ln>
                <a:noFill/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571604" y="6215082"/>
            <a:ext cx="7000924" cy="584775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indent="-71438" algn="ctr">
              <a:buFontTx/>
              <a:buNone/>
            </a:pPr>
            <a:r>
              <a:rPr lang="ru-RU" sz="1600" dirty="0" smtClean="0">
                <a:latin typeface="Times New Roman" pitchFamily="18" charset="0"/>
              </a:rPr>
              <a:t>Мы сегодня должны формулировать цели по достижению ПТ в сравнении с аналогичными производствами за</a:t>
            </a:r>
            <a:r>
              <a:rPr lang="en-US" sz="1600" dirty="0" smtClean="0">
                <a:latin typeface="Times New Roman" pitchFamily="18" charset="0"/>
              </a:rPr>
              <a:t> </a:t>
            </a:r>
            <a:r>
              <a:rPr lang="ru-RU" sz="1600" dirty="0" smtClean="0">
                <a:latin typeface="Times New Roman" pitchFamily="18" charset="0"/>
              </a:rPr>
              <a:t>рубежом</a:t>
            </a:r>
            <a:r>
              <a:rPr lang="en-US" sz="1600" dirty="0" smtClean="0">
                <a:latin typeface="Times New Roman" pitchFamily="18" charset="0"/>
              </a:rPr>
              <a:t>.</a:t>
            </a:r>
            <a:endParaRPr lang="ru-RU" sz="1600" dirty="0">
              <a:latin typeface="Times New Roman" pitchFamily="18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57222" y="6215082"/>
            <a:ext cx="1285820" cy="357190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вод </a:t>
            </a:r>
            <a:r>
              <a:rPr lang="en-US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endParaRPr lang="ru-RU" sz="1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000100" y="4429132"/>
            <a:ext cx="8143900" cy="857256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“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Известно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,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что американцы по затратам труда работают экономичнее нас в 4-5 раз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А по себестоимости в 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в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1,5-2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аза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Это большое отставание и мы обязаны его ликвидировать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”</a:t>
            </a:r>
            <a:br>
              <a:rPr lang="en-US" sz="16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ашкин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уководитель НТУ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,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28 мая 1963 г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2296" name="Picture 8" descr="Картинка 169 из 3988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43768" y="1263670"/>
            <a:ext cx="2001998" cy="137951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294" name="Picture 6" descr="Картинка 127 из 737"/>
          <p:cNvPicPr>
            <a:picLocks noChangeAspect="1" noChangeArrowheads="1"/>
          </p:cNvPicPr>
          <p:nvPr/>
        </p:nvPicPr>
        <p:blipFill>
          <a:blip r:embed="rId3" cstate="print">
            <a:grayscl/>
          </a:blip>
          <a:srcRect/>
          <a:stretch>
            <a:fillRect/>
          </a:stretch>
        </p:blipFill>
        <p:spPr bwMode="auto">
          <a:xfrm>
            <a:off x="1000100" y="1357298"/>
            <a:ext cx="2000264" cy="123230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0" y="6381750"/>
            <a:ext cx="457200" cy="476250"/>
          </a:xfrm>
          <a:prstGeom prst="rect">
            <a:avLst/>
          </a:prstGeom>
        </p:spPr>
        <p:txBody>
          <a:bodyPr anchor="b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8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3" name="Rectangle 3"/>
          <p:cNvSpPr>
            <a:spLocks noGrp="1" noChangeArrowheads="1"/>
          </p:cNvSpPr>
          <p:nvPr>
            <p:ph idx="1"/>
          </p:nvPr>
        </p:nvSpPr>
        <p:spPr>
          <a:xfrm>
            <a:off x="1000100" y="857232"/>
            <a:ext cx="7862150" cy="5357850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FontTx/>
              <a:buNone/>
            </a:pPr>
            <a:r>
              <a:rPr lang="ru-RU" sz="1800" u="sng" dirty="0" smtClean="0">
                <a:latin typeface="Times New Roman" pitchFamily="18" charset="0"/>
              </a:rPr>
              <a:t>Выявление резервов производительности труда</a:t>
            </a:r>
            <a:r>
              <a:rPr lang="en-US" sz="1800" u="sng" dirty="0" smtClean="0">
                <a:latin typeface="Times New Roman" pitchFamily="18" charset="0"/>
              </a:rPr>
              <a:t> </a:t>
            </a:r>
            <a:r>
              <a:rPr lang="ru-RU" sz="1800" u="sng" dirty="0" smtClean="0">
                <a:latin typeface="Times New Roman" pitchFamily="18" charset="0"/>
              </a:rPr>
              <a:t>в вопросах расстановки и использования рабочих и инженерных кадров с учетом объемов </a:t>
            </a:r>
            <a:r>
              <a:rPr lang="ru-RU" sz="1800" u="sng" dirty="0" err="1" smtClean="0">
                <a:latin typeface="Times New Roman" pitchFamily="18" charset="0"/>
              </a:rPr>
              <a:t>гос</a:t>
            </a:r>
            <a:r>
              <a:rPr lang="en-US" sz="1800" u="sng" dirty="0" smtClean="0">
                <a:latin typeface="Times New Roman" pitchFamily="18" charset="0"/>
              </a:rPr>
              <a:t>.</a:t>
            </a:r>
            <a:r>
              <a:rPr lang="ru-RU" sz="1800" u="sng" dirty="0" smtClean="0">
                <a:latin typeface="Times New Roman" pitchFamily="18" charset="0"/>
              </a:rPr>
              <a:t> плана</a:t>
            </a:r>
            <a:r>
              <a:rPr lang="en-US" sz="1800" u="sng" dirty="0" smtClean="0">
                <a:latin typeface="Times New Roman" pitchFamily="18" charset="0"/>
              </a:rPr>
              <a:t>.</a:t>
            </a:r>
            <a:endParaRPr lang="ru-RU" sz="1800" dirty="0">
              <a:latin typeface="Times New Roman" pitchFamily="18" charset="0"/>
            </a:endParaRPr>
          </a:p>
          <a:p>
            <a:pPr marL="0" indent="0" algn="just">
              <a:spcBef>
                <a:spcPts val="0"/>
              </a:spcBef>
              <a:buFontTx/>
              <a:buNone/>
            </a:pPr>
            <a:r>
              <a:rPr lang="ru-RU" sz="1600" dirty="0" smtClean="0">
                <a:latin typeface="Times New Roman" pitchFamily="18" charset="0"/>
              </a:rPr>
              <a:t>Обследование </a:t>
            </a:r>
            <a:r>
              <a:rPr lang="ru-RU" sz="1600" dirty="0">
                <a:latin typeface="Times New Roman" pitchFamily="18" charset="0"/>
              </a:rPr>
              <a:t>проводилось путем выезда на объекты комплексных бригад </a:t>
            </a:r>
            <a:r>
              <a:rPr lang="ru-RU" sz="1600" dirty="0" smtClean="0">
                <a:latin typeface="Times New Roman" pitchFamily="18" charset="0"/>
              </a:rPr>
              <a:t>работников НОТ </a:t>
            </a:r>
            <a:r>
              <a:rPr lang="ru-RU" sz="1600" dirty="0">
                <a:latin typeface="Times New Roman" pitchFamily="18" charset="0"/>
              </a:rPr>
              <a:t>родственных предприятий </a:t>
            </a:r>
            <a:r>
              <a:rPr lang="ru-RU" sz="1600" dirty="0" smtClean="0">
                <a:latin typeface="Times New Roman" pitchFamily="18" charset="0"/>
              </a:rPr>
              <a:t>(своего рода </a:t>
            </a:r>
            <a:r>
              <a:rPr lang="ru-RU" sz="1600" dirty="0">
                <a:latin typeface="Times New Roman" pitchFamily="18" charset="0"/>
              </a:rPr>
              <a:t>«партнерские проверки</a:t>
            </a:r>
            <a:r>
              <a:rPr lang="ru-RU" sz="1600" dirty="0" smtClean="0">
                <a:latin typeface="Times New Roman" pitchFamily="18" charset="0"/>
              </a:rPr>
              <a:t>»!)</a:t>
            </a:r>
            <a:br>
              <a:rPr lang="ru-RU" sz="1600" dirty="0" smtClean="0">
                <a:latin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</a:rPr>
              <a:t> </a:t>
            </a:r>
            <a:r>
              <a:rPr lang="ru-RU" sz="1600" dirty="0">
                <a:latin typeface="Times New Roman" pitchFamily="18" charset="0"/>
              </a:rPr>
              <a:t>– 200 чел</a:t>
            </a:r>
            <a:r>
              <a:rPr lang="ru-RU" sz="1600" dirty="0" smtClean="0">
                <a:latin typeface="Times New Roman" pitchFamily="18" charset="0"/>
              </a:rPr>
              <a:t>. - более 20</a:t>
            </a:r>
            <a:r>
              <a:rPr lang="en-US" sz="1600" dirty="0" smtClean="0">
                <a:latin typeface="Times New Roman" pitchFamily="18" charset="0"/>
              </a:rPr>
              <a:t>.</a:t>
            </a:r>
            <a:r>
              <a:rPr lang="ru-RU" sz="1600" dirty="0" smtClean="0">
                <a:latin typeface="Times New Roman" pitchFamily="18" charset="0"/>
              </a:rPr>
              <a:t>000 </a:t>
            </a:r>
            <a:r>
              <a:rPr lang="ru-RU" sz="1600" dirty="0">
                <a:latin typeface="Times New Roman" pitchFamily="18" charset="0"/>
              </a:rPr>
              <a:t>расчетов численности.</a:t>
            </a:r>
          </a:p>
          <a:p>
            <a:pPr marL="0" indent="0" algn="just">
              <a:spcBef>
                <a:spcPts val="0"/>
              </a:spcBef>
              <a:buNone/>
            </a:pPr>
            <a:r>
              <a:rPr lang="ru-RU" sz="1600" dirty="0" smtClean="0">
                <a:latin typeface="Times New Roman" pitchFamily="18" charset="0"/>
              </a:rPr>
              <a:t>Уточнение </a:t>
            </a:r>
            <a:r>
              <a:rPr lang="ru-RU" sz="1600" dirty="0">
                <a:latin typeface="Times New Roman" pitchFamily="18" charset="0"/>
              </a:rPr>
              <a:t>технологических схем, количества действующего и резервного оборудования – степени его </a:t>
            </a:r>
            <a:r>
              <a:rPr lang="ru-RU" sz="1600" dirty="0" smtClean="0">
                <a:latin typeface="Times New Roman" pitchFamily="18" charset="0"/>
              </a:rPr>
              <a:t>загрузки</a:t>
            </a:r>
            <a:r>
              <a:rPr lang="en-US" sz="1600" dirty="0" smtClean="0">
                <a:latin typeface="Times New Roman" pitchFamily="18" charset="0"/>
              </a:rPr>
              <a:t> </a:t>
            </a:r>
            <a:r>
              <a:rPr lang="ru-RU" sz="1600" dirty="0" smtClean="0">
                <a:latin typeface="Times New Roman" pitchFamily="18" charset="0"/>
              </a:rPr>
              <a:t>на каждом производственном участке.</a:t>
            </a:r>
            <a:endParaRPr lang="ru-RU" sz="1600" dirty="0">
              <a:latin typeface="Times New Roman" pitchFamily="18" charset="0"/>
            </a:endParaRPr>
          </a:p>
          <a:p>
            <a:pPr marL="0" indent="0" algn="just">
              <a:spcBef>
                <a:spcPts val="0"/>
              </a:spcBef>
              <a:buNone/>
            </a:pPr>
            <a:r>
              <a:rPr lang="ru-RU" sz="1600" dirty="0" smtClean="0">
                <a:latin typeface="Times New Roman" pitchFamily="18" charset="0"/>
              </a:rPr>
              <a:t>Все </a:t>
            </a:r>
            <a:r>
              <a:rPr lang="ru-RU" sz="1600" dirty="0">
                <a:latin typeface="Times New Roman" pitchFamily="18" charset="0"/>
              </a:rPr>
              <a:t>это </a:t>
            </a:r>
            <a:r>
              <a:rPr lang="ru-RU" sz="1600" dirty="0" smtClean="0">
                <a:latin typeface="Times New Roman" pitchFamily="18" charset="0"/>
              </a:rPr>
              <a:t>сравнивалось </a:t>
            </a:r>
            <a:r>
              <a:rPr lang="ru-RU" sz="1600" dirty="0">
                <a:latin typeface="Times New Roman" pitchFamily="18" charset="0"/>
              </a:rPr>
              <a:t>с отраслевыми нормами. </a:t>
            </a:r>
          </a:p>
          <a:p>
            <a:pPr marL="0" indent="0">
              <a:buFontTx/>
              <a:buNone/>
            </a:pPr>
            <a:endParaRPr lang="ru-RU" sz="1800" u="sng" dirty="0" smtClean="0">
              <a:latin typeface="Times New Roman" pitchFamily="18" charset="0"/>
            </a:endParaRPr>
          </a:p>
          <a:p>
            <a:pPr marL="0" indent="0">
              <a:buFontTx/>
              <a:buNone/>
            </a:pPr>
            <a:r>
              <a:rPr lang="ru-RU" sz="1800" u="sng" dirty="0" smtClean="0">
                <a:latin typeface="Times New Roman" pitchFamily="18" charset="0"/>
              </a:rPr>
              <a:t>Проверка </a:t>
            </a:r>
            <a:r>
              <a:rPr lang="ru-RU" sz="1800" u="sng" dirty="0">
                <a:latin typeface="Times New Roman" pitchFamily="18" charset="0"/>
              </a:rPr>
              <a:t>эффекта от внедрения новой </a:t>
            </a:r>
            <a:r>
              <a:rPr lang="ru-RU" sz="1800" u="sng" dirty="0" smtClean="0">
                <a:latin typeface="Times New Roman" pitchFamily="18" charset="0"/>
              </a:rPr>
              <a:t>техники</a:t>
            </a:r>
            <a:r>
              <a:rPr lang="ru-RU" sz="1800" dirty="0" smtClean="0">
                <a:latin typeface="Times New Roman" pitchFamily="18" charset="0"/>
              </a:rPr>
              <a:t>.</a:t>
            </a:r>
            <a:r>
              <a:rPr lang="en-US" sz="1800" dirty="0" smtClean="0">
                <a:latin typeface="Times New Roman" pitchFamily="18" charset="0"/>
              </a:rPr>
              <a:t> </a:t>
            </a:r>
            <a:r>
              <a:rPr lang="ru-RU" sz="1800" dirty="0" smtClean="0">
                <a:latin typeface="Times New Roman" pitchFamily="18" charset="0"/>
              </a:rPr>
              <a:t>Мощность отдельного нового оборудования используется на 30%</a:t>
            </a:r>
            <a:r>
              <a:rPr lang="en-US" sz="1800" dirty="0" smtClean="0">
                <a:latin typeface="Times New Roman" pitchFamily="18" charset="0"/>
              </a:rPr>
              <a:t>.</a:t>
            </a:r>
            <a:br>
              <a:rPr lang="en-US" sz="1800" dirty="0" smtClean="0">
                <a:latin typeface="Times New Roman" pitchFamily="18" charset="0"/>
              </a:rPr>
            </a:br>
            <a:r>
              <a:rPr lang="ru-RU" sz="1800" dirty="0" smtClean="0">
                <a:latin typeface="Times New Roman" pitchFamily="18" charset="0"/>
              </a:rPr>
              <a:t> Рост ПТ должен быть  </a:t>
            </a:r>
            <a:r>
              <a:rPr lang="ru-RU" sz="1800" dirty="0">
                <a:latin typeface="Times New Roman" pitchFamily="18" charset="0"/>
              </a:rPr>
              <a:t>больше роста основных фондов. За 20 лет (1940-1960) </a:t>
            </a:r>
            <a:r>
              <a:rPr lang="ru-RU" sz="1800" dirty="0" smtClean="0">
                <a:latin typeface="Times New Roman" pitchFamily="18" charset="0"/>
              </a:rPr>
              <a:t>эта тенденция в </a:t>
            </a:r>
            <a:r>
              <a:rPr lang="ru-RU" sz="1800" dirty="0">
                <a:latin typeface="Times New Roman" pitchFamily="18" charset="0"/>
              </a:rPr>
              <a:t>СССР </a:t>
            </a:r>
            <a:r>
              <a:rPr lang="ru-RU" sz="1800" dirty="0" smtClean="0">
                <a:latin typeface="Times New Roman" pitchFamily="18" charset="0"/>
              </a:rPr>
              <a:t>положительна – </a:t>
            </a:r>
            <a:r>
              <a:rPr lang="ru-RU" sz="1800" dirty="0">
                <a:latin typeface="Times New Roman" pitchFamily="18" charset="0"/>
              </a:rPr>
              <a:t>295% </a:t>
            </a:r>
            <a:r>
              <a:rPr lang="en-US" sz="1800" dirty="0" smtClean="0">
                <a:latin typeface="Times New Roman" pitchFamily="18" charset="0"/>
              </a:rPr>
              <a:t>&gt;</a:t>
            </a:r>
            <a:r>
              <a:rPr lang="ru-RU" sz="1800" dirty="0" smtClean="0">
                <a:latin typeface="Times New Roman" pitchFamily="18" charset="0"/>
              </a:rPr>
              <a:t> 209%</a:t>
            </a:r>
            <a:r>
              <a:rPr lang="en-US" sz="1800" dirty="0" smtClean="0">
                <a:latin typeface="Times New Roman" pitchFamily="18" charset="0"/>
              </a:rPr>
              <a:t>.</a:t>
            </a:r>
            <a:r>
              <a:rPr lang="ru-RU" sz="1800" dirty="0" smtClean="0">
                <a:latin typeface="Times New Roman" pitchFamily="18" charset="0"/>
              </a:rPr>
              <a:t>  </a:t>
            </a:r>
            <a:r>
              <a:rPr lang="ru-RU" sz="1800" dirty="0">
                <a:latin typeface="Times New Roman" pitchFamily="18" charset="0"/>
              </a:rPr>
              <a:t>- </a:t>
            </a:r>
            <a:r>
              <a:rPr lang="ru-RU" sz="1800" dirty="0" smtClean="0">
                <a:latin typeface="Times New Roman" pitchFamily="18" charset="0"/>
              </a:rPr>
              <a:t>В отрасли не везде</a:t>
            </a:r>
            <a:r>
              <a:rPr lang="en-US" sz="1800" dirty="0" smtClean="0">
                <a:latin typeface="Times New Roman" pitchFamily="18" charset="0"/>
              </a:rPr>
              <a:t>.</a:t>
            </a:r>
            <a:endParaRPr lang="ru-RU" sz="1800" dirty="0">
              <a:latin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143636" y="0"/>
            <a:ext cx="30003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i="1" dirty="0" smtClean="0">
                <a:latin typeface="Times New Roman" pitchFamily="18" charset="0"/>
              </a:rPr>
              <a:t>Министерство среднего машиностроения - 1962г.</a:t>
            </a:r>
            <a:endParaRPr lang="ru-RU" sz="1400" dirty="0"/>
          </a:p>
        </p:txBody>
      </p:sp>
      <p:sp>
        <p:nvSpPr>
          <p:cNvPr id="13" name="Rectangle 2"/>
          <p:cNvSpPr txBox="1">
            <a:spLocks noChangeArrowheads="1"/>
          </p:cNvSpPr>
          <p:nvPr/>
        </p:nvSpPr>
        <p:spPr>
          <a:xfrm>
            <a:off x="1000100" y="142852"/>
            <a:ext cx="7143800" cy="571480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Отраслевое совещание</a:t>
            </a:r>
            <a:r>
              <a:rPr kumimoji="0" lang="ru-RU" sz="2800" b="1" i="0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– 1962 г</a:t>
            </a:r>
            <a:r>
              <a:rPr kumimoji="0" lang="en-US" sz="2800" b="1" i="0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.</a:t>
            </a:r>
            <a:endParaRPr kumimoji="0" lang="ru-RU" sz="2400" b="1" i="1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000100" y="4857760"/>
            <a:ext cx="81439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u="sng" dirty="0" smtClean="0">
                <a:latin typeface="Times New Roman" pitchFamily="18" charset="0"/>
              </a:rPr>
              <a:t>Недостатки в поиске резервов </a:t>
            </a:r>
            <a:r>
              <a:rPr lang="ru-RU" dirty="0" smtClean="0">
                <a:latin typeface="Times New Roman" pitchFamily="18" charset="0"/>
              </a:rPr>
              <a:t>– все усилия</a:t>
            </a:r>
            <a:r>
              <a:rPr lang="en-US" dirty="0" smtClean="0">
                <a:latin typeface="Times New Roman" pitchFamily="18" charset="0"/>
              </a:rPr>
              <a:t> </a:t>
            </a:r>
            <a:r>
              <a:rPr lang="ru-RU" dirty="0" smtClean="0">
                <a:latin typeface="Times New Roman" pitchFamily="18" charset="0"/>
              </a:rPr>
              <a:t>направлены на участки основного производства</a:t>
            </a:r>
            <a:r>
              <a:rPr lang="en-US" dirty="0" smtClean="0">
                <a:latin typeface="Times New Roman" pitchFamily="18" charset="0"/>
              </a:rPr>
              <a:t>,</a:t>
            </a:r>
            <a:r>
              <a:rPr lang="ru-RU" dirty="0" smtClean="0">
                <a:latin typeface="Times New Roman" pitchFamily="18" charset="0"/>
              </a:rPr>
              <a:t> а это – 1/3 рабочих,</a:t>
            </a:r>
            <a:r>
              <a:rPr lang="en-US" dirty="0" smtClean="0">
                <a:latin typeface="Times New Roman" pitchFamily="18" charset="0"/>
              </a:rPr>
              <a:t> </a:t>
            </a:r>
            <a:r>
              <a:rPr lang="ru-RU" dirty="0" smtClean="0">
                <a:latin typeface="Times New Roman" pitchFamily="18" charset="0"/>
              </a:rPr>
              <a:t>2/3 –ремонтники, дежурные</a:t>
            </a:r>
            <a:r>
              <a:rPr lang="en-US" dirty="0" smtClean="0">
                <a:latin typeface="Times New Roman" pitchFamily="18" charset="0"/>
              </a:rPr>
              <a:t> </a:t>
            </a:r>
            <a:r>
              <a:rPr lang="ru-RU" dirty="0" smtClean="0">
                <a:latin typeface="Times New Roman" pitchFamily="18" charset="0"/>
              </a:rPr>
              <a:t>службы, уборка, дезактивация, гардеробщики и т.д. – остались вне поля зрения.</a:t>
            </a:r>
            <a:endParaRPr lang="ru-RU" dirty="0">
              <a:latin typeface="Times New Roman" pitchFamily="18" charset="0"/>
            </a:endParaRPr>
          </a:p>
        </p:txBody>
      </p:sp>
      <p:sp>
        <p:nvSpPr>
          <p:cNvPr id="20" name="Rectangle 2"/>
          <p:cNvSpPr txBox="1">
            <a:spLocks noChangeArrowheads="1"/>
          </p:cNvSpPr>
          <p:nvPr/>
        </p:nvSpPr>
        <p:spPr>
          <a:xfrm>
            <a:off x="500034" y="857232"/>
            <a:ext cx="642942" cy="500066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smtClean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j-ea"/>
                <a:cs typeface="+mj-cs"/>
              </a:rPr>
              <a:t>V</a:t>
            </a:r>
            <a:endParaRPr kumimoji="0" lang="ru-RU" sz="2800" b="1" i="1" u="none" strike="noStrike" kern="1200" cap="none" spc="0" normalizeH="0" baseline="0" noProof="0" dirty="0">
              <a:ln>
                <a:noFill/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22" name="Rectangle 2"/>
          <p:cNvSpPr txBox="1">
            <a:spLocks noChangeArrowheads="1"/>
          </p:cNvSpPr>
          <p:nvPr/>
        </p:nvSpPr>
        <p:spPr>
          <a:xfrm>
            <a:off x="428596" y="3214686"/>
            <a:ext cx="642942" cy="500066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smtClean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j-ea"/>
                <a:cs typeface="+mj-cs"/>
              </a:rPr>
              <a:t>VI</a:t>
            </a:r>
            <a:endParaRPr kumimoji="0" lang="ru-RU" sz="2800" b="1" i="1" u="none" strike="noStrike" kern="1200" cap="none" spc="0" normalizeH="0" baseline="0" noProof="0" dirty="0">
              <a:ln>
                <a:noFill/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23" name="Rectangle 2"/>
          <p:cNvSpPr txBox="1">
            <a:spLocks noChangeArrowheads="1"/>
          </p:cNvSpPr>
          <p:nvPr/>
        </p:nvSpPr>
        <p:spPr>
          <a:xfrm>
            <a:off x="214282" y="4786322"/>
            <a:ext cx="857256" cy="500066"/>
          </a:xfrm>
          <a:prstGeom prst="rect">
            <a:avLst/>
          </a:prstGeom>
        </p:spPr>
        <p:txBody>
          <a:bodyPr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 smtClean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j-ea"/>
                <a:cs typeface="+mj-cs"/>
              </a:rPr>
              <a:t>VII</a:t>
            </a:r>
            <a:endParaRPr kumimoji="0" lang="ru-RU" sz="2800" b="1" i="1" u="none" strike="noStrike" kern="1200" cap="none" spc="0" normalizeH="0" baseline="0" noProof="0" dirty="0">
              <a:ln>
                <a:noFill/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2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0" y="6381750"/>
            <a:ext cx="457200" cy="476250"/>
          </a:xfrm>
        </p:spPr>
        <p:txBody>
          <a:bodyPr/>
          <a:lstStyle/>
          <a:p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9</a:t>
            </a:r>
            <a:endParaRPr lang="ru-RU" sz="18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1000100" y="3357562"/>
            <a:ext cx="7929618" cy="1143008"/>
          </a:xfrm>
          <a:prstGeom prst="rect">
            <a:avLst/>
          </a:prstGeom>
          <a:noFill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1000100" y="4786322"/>
            <a:ext cx="7929618" cy="1143008"/>
          </a:xfrm>
          <a:prstGeom prst="rect">
            <a:avLst/>
          </a:prstGeom>
          <a:noFill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1000100" y="928670"/>
            <a:ext cx="7929618" cy="2071702"/>
          </a:xfrm>
          <a:prstGeom prst="rect">
            <a:avLst/>
          </a:prstGeom>
          <a:noFill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nerQUQ.UGr96QRJJVru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Солнцестояние">
  <a:themeElements>
    <a:clrScheme name="Солнцестояние">
      <a:dk1>
        <a:sysClr val="windowText" lastClr="000000"/>
      </a:dk1>
      <a:lt1>
        <a:sysClr val="window" lastClr="FFFFFF"/>
      </a:lt1>
      <a:dk2>
        <a:srgbClr val="4F271C"/>
      </a:dk2>
      <a:lt2>
        <a:srgbClr val="E7DEC9"/>
      </a:lt2>
      <a:accent1>
        <a:srgbClr val="3891A7"/>
      </a:accent1>
      <a:accent2>
        <a:srgbClr val="FEB80A"/>
      </a:accent2>
      <a:accent3>
        <a:srgbClr val="C32D2E"/>
      </a:accent3>
      <a:accent4>
        <a:srgbClr val="84AA33"/>
      </a:accent4>
      <a:accent5>
        <a:srgbClr val="964305"/>
      </a:accent5>
      <a:accent6>
        <a:srgbClr val="475A8D"/>
      </a:accent6>
      <a:hlink>
        <a:srgbClr val="8DC765"/>
      </a:hlink>
      <a:folHlink>
        <a:srgbClr val="AA8A14"/>
      </a:folHlink>
    </a:clrScheme>
    <a:fontScheme name="Солнцестояние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Солнцестояние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53000"/>
              </a:schemeClr>
            </a:gs>
            <a:gs pos="50000">
              <a:schemeClr val="phClr">
                <a:tint val="42000"/>
                <a:satMod val="255000"/>
              </a:schemeClr>
            </a:gs>
            <a:gs pos="97000">
              <a:schemeClr val="phClr">
                <a:tint val="53000"/>
                <a:satMod val="260000"/>
              </a:schemeClr>
            </a:gs>
            <a:gs pos="100000">
              <a:schemeClr val="phClr">
                <a:tint val="56000"/>
                <a:satMod val="275000"/>
              </a:schemeClr>
            </a:gs>
          </a:gsLst>
          <a:path path="circle">
            <a:fillToRect l="50000" t="50000" r="50000" b="50000"/>
          </a:path>
        </a:gradFill>
        <a:gradFill rotWithShape="1">
          <a:gsLst>
            <a:gs pos="0">
              <a:schemeClr val="phClr">
                <a:tint val="92000"/>
                <a:satMod val="170000"/>
              </a:schemeClr>
            </a:gs>
            <a:gs pos="15000">
              <a:schemeClr val="phClr">
                <a:tint val="92000"/>
                <a:shade val="99000"/>
                <a:satMod val="170000"/>
              </a:schemeClr>
            </a:gs>
            <a:gs pos="62000">
              <a:schemeClr val="phClr">
                <a:tint val="96000"/>
                <a:shade val="80000"/>
                <a:satMod val="170000"/>
              </a:schemeClr>
            </a:gs>
            <a:gs pos="97000">
              <a:schemeClr val="phClr">
                <a:tint val="98000"/>
                <a:shade val="63000"/>
                <a:satMod val="170000"/>
              </a:schemeClr>
            </a:gs>
            <a:gs pos="100000">
              <a:schemeClr val="phClr">
                <a:shade val="62000"/>
                <a:satMod val="170000"/>
              </a:schemeClr>
            </a:gs>
          </a:gsLst>
          <a:path path="circle">
            <a:fillToRect l="50000" t="50000" r="50000" b="5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8700000"/>
            </a:lightRig>
          </a:scene3d>
          <a:sp3d contourW="12700">
            <a:bevelT w="0" h="0"/>
            <a:contourClr>
              <a:schemeClr val="phClr">
                <a:shade val="8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brightRoom" dir="tl">
              <a:rot lat="0" lon="0" rev="5400000"/>
            </a:lightRig>
          </a:scene3d>
          <a:sp3d contourW="12700">
            <a:bevelT w="25400" h="50800" prst="angle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355000"/>
              </a:schemeClr>
            </a:gs>
            <a:gs pos="40000">
              <a:schemeClr val="phClr">
                <a:tint val="85000"/>
                <a:satMod val="320000"/>
              </a:schemeClr>
            </a:gs>
            <a:gs pos="100000">
              <a:schemeClr val="phClr">
                <a:shade val="55000"/>
                <a:satMod val="300000"/>
              </a:schemeClr>
            </a:gs>
          </a:gsLst>
          <a:path path="circle">
            <a:fillToRect l="-24500" t="-20000" r="124500" b="12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"/>
                <a:satMod val="300000"/>
              </a:schemeClr>
              <a:schemeClr val="phClr">
                <a:tint val="90000"/>
                <a:satMod val="225000"/>
              </a:schemeClr>
            </a:duotone>
          </a:blip>
          <a:tile tx="0" ty="0" sx="90000" sy="90000" flip="xy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olstice</Template>
  <TotalTime>1183</TotalTime>
  <Words>1716</Words>
  <Application>Microsoft Office PowerPoint</Application>
  <PresentationFormat>Экран (4:3)</PresentationFormat>
  <Paragraphs>275</Paragraphs>
  <Slides>19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0" baseType="lpstr">
      <vt:lpstr>Солнцестояние</vt:lpstr>
      <vt:lpstr>Анализ архивных материалов по теме: «Мин.сред.маш СССР –  ПОВЫШЕНИЕ ПРОИЗВОДИТЕЛЬНОСТИ ТРУДА  на основе научной организации труда, производства и  управления – НОТП и ОУ»</vt:lpstr>
      <vt:lpstr>1945-образованно Первое ГУ при Совете Министров СССР (в 1953 году реорганизовано в  Министерство среднего машиностроения)  1945-1950  Цель: обеспечить выпуск атомного оружия.   Задача:  - строительство новых промышленных предприятий (РОСТ)  - проведение научно исследовательских работ (НАУКА). - организационная подготовка квалифицированных рабочих (ПОДГОТОВКА КАДРОВ).   1953-1954   Продолжает совершенствоваться система ОТ: тарифные системы, разработка норм времени, расценок для всех операций и т.д. Начинает звучать тема: РАЦИОНАЛЬНОЕ ИСПОЛЬЗОВАНИЕ РАБОЧИХ И ОБОРУДОВАНИЯ.   1957г. – на ряде предприятий организованны нормативно-исследовательские лаборатории (группы по улучшению организации труда).</vt:lpstr>
      <vt:lpstr>Слайд 3</vt:lpstr>
      <vt:lpstr>Рационализация и изобретательство</vt:lpstr>
      <vt:lpstr>Слайд 5</vt:lpstr>
      <vt:lpstr>   Отраслевое совещание по вопросу повышения производительности  труда на основе НТП на предприятиях Главка   (4-7 июля 1962г.  - 4 дня работы)            </vt:lpstr>
      <vt:lpstr>Потери рабочего времени из-за слабой организации труда – резерв роста ПТ </vt:lpstr>
      <vt:lpstr>Сравнительный анализ производительности  труда на отечественных и зарубежных заводах</vt:lpstr>
      <vt:lpstr>Слайд 9</vt:lpstr>
      <vt:lpstr>Слайд 10</vt:lpstr>
      <vt:lpstr>Слайд 11</vt:lpstr>
      <vt:lpstr>Из протоколов совещаний руководителей Служб НОТ 1971-1972 гг.</vt:lpstr>
      <vt:lpstr>Докладная записка начальника УОТ и З.ВФ. Гильберта т. Славскому Е.П. «О сокращении расходов на содержание аппарата управления отрасли» (АУ)</vt:lpstr>
      <vt:lpstr>Анализ выполнения по НОТ и ОУ Минсредмаша – 1979 г.</vt:lpstr>
      <vt:lpstr>Элементы  преемственности</vt:lpstr>
      <vt:lpstr>Слайд 16</vt:lpstr>
      <vt:lpstr>Слайд 17</vt:lpstr>
      <vt:lpstr>Слайд 18</vt:lpstr>
      <vt:lpstr>Зачем нужна ПС «Росатом» возврат к традициям и преодоление нерыночных отраслевых тенденций: себестоимость + производительность труда (КПЭ5)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Асрибеков Артемий Вадимович</dc:creator>
  <cp:lastModifiedBy>Krasnobaev</cp:lastModifiedBy>
  <cp:revision>96</cp:revision>
  <dcterms:created xsi:type="dcterms:W3CDTF">2011-05-12T06:07:58Z</dcterms:created>
  <dcterms:modified xsi:type="dcterms:W3CDTF">2011-10-11T15:32:30Z</dcterms:modified>
</cp:coreProperties>
</file>